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notesSlides/notesSlide8.xml" ContentType="application/vnd.openxmlformats-officedocument.presentationml.notesSlide+xml"/>
  <Override PartName="/ppt/tags/tag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2054" r:id="rId2"/>
    <p:sldId id="2055" r:id="rId3"/>
    <p:sldId id="2057" r:id="rId4"/>
    <p:sldId id="2058" r:id="rId5"/>
    <p:sldId id="2059" r:id="rId6"/>
    <p:sldId id="2060" r:id="rId7"/>
    <p:sldId id="2062" r:id="rId8"/>
    <p:sldId id="2162" r:id="rId9"/>
    <p:sldId id="2156" r:id="rId10"/>
    <p:sldId id="2061" r:id="rId11"/>
    <p:sldId id="2158" r:id="rId12"/>
    <p:sldId id="2270" r:id="rId13"/>
    <p:sldId id="2147" r:id="rId14"/>
    <p:sldId id="1383" r:id="rId15"/>
  </p:sldIdLst>
  <p:sldSz cx="9144000" cy="5143500" type="screen16x9"/>
  <p:notesSz cx="6954838" cy="9309100"/>
  <p:defaultTextStyle>
    <a:defPPr>
      <a:defRPr lang="de-DE"/>
    </a:defPPr>
    <a:lvl1pPr marL="0" algn="l" defTabSz="685526" rtl="0" eaLnBrk="1" latinLnBrk="0" hangingPunct="1">
      <a:defRPr sz="1349" kern="1200">
        <a:solidFill>
          <a:schemeClr val="tx1"/>
        </a:solidFill>
        <a:latin typeface="+mn-lt"/>
        <a:ea typeface="+mn-ea"/>
        <a:cs typeface="+mn-cs"/>
      </a:defRPr>
    </a:lvl1pPr>
    <a:lvl2pPr marL="342763" algn="l" defTabSz="685526" rtl="0" eaLnBrk="1" latinLnBrk="0" hangingPunct="1">
      <a:defRPr sz="1349" kern="1200">
        <a:solidFill>
          <a:schemeClr val="tx1"/>
        </a:solidFill>
        <a:latin typeface="+mn-lt"/>
        <a:ea typeface="+mn-ea"/>
        <a:cs typeface="+mn-cs"/>
      </a:defRPr>
    </a:lvl2pPr>
    <a:lvl3pPr marL="685526" algn="l" defTabSz="685526" rtl="0" eaLnBrk="1" latinLnBrk="0" hangingPunct="1">
      <a:defRPr sz="1349" kern="1200">
        <a:solidFill>
          <a:schemeClr val="tx1"/>
        </a:solidFill>
        <a:latin typeface="+mn-lt"/>
        <a:ea typeface="+mn-ea"/>
        <a:cs typeface="+mn-cs"/>
      </a:defRPr>
    </a:lvl3pPr>
    <a:lvl4pPr marL="1028289" algn="l" defTabSz="685526" rtl="0" eaLnBrk="1" latinLnBrk="0" hangingPunct="1">
      <a:defRPr sz="1349" kern="1200">
        <a:solidFill>
          <a:schemeClr val="tx1"/>
        </a:solidFill>
        <a:latin typeface="+mn-lt"/>
        <a:ea typeface="+mn-ea"/>
        <a:cs typeface="+mn-cs"/>
      </a:defRPr>
    </a:lvl4pPr>
    <a:lvl5pPr marL="1371051" algn="l" defTabSz="685526" rtl="0" eaLnBrk="1" latinLnBrk="0" hangingPunct="1">
      <a:defRPr sz="1349" kern="1200">
        <a:solidFill>
          <a:schemeClr val="tx1"/>
        </a:solidFill>
        <a:latin typeface="+mn-lt"/>
        <a:ea typeface="+mn-ea"/>
        <a:cs typeface="+mn-cs"/>
      </a:defRPr>
    </a:lvl5pPr>
    <a:lvl6pPr marL="1713814" algn="l" defTabSz="685526" rtl="0" eaLnBrk="1" latinLnBrk="0" hangingPunct="1">
      <a:defRPr sz="1349" kern="1200">
        <a:solidFill>
          <a:schemeClr val="tx1"/>
        </a:solidFill>
        <a:latin typeface="+mn-lt"/>
        <a:ea typeface="+mn-ea"/>
        <a:cs typeface="+mn-cs"/>
      </a:defRPr>
    </a:lvl6pPr>
    <a:lvl7pPr marL="2056577" algn="l" defTabSz="685526" rtl="0" eaLnBrk="1" latinLnBrk="0" hangingPunct="1">
      <a:defRPr sz="1349" kern="1200">
        <a:solidFill>
          <a:schemeClr val="tx1"/>
        </a:solidFill>
        <a:latin typeface="+mn-lt"/>
        <a:ea typeface="+mn-ea"/>
        <a:cs typeface="+mn-cs"/>
      </a:defRPr>
    </a:lvl7pPr>
    <a:lvl8pPr marL="2399340" algn="l" defTabSz="685526" rtl="0" eaLnBrk="1" latinLnBrk="0" hangingPunct="1">
      <a:defRPr sz="1349" kern="1200">
        <a:solidFill>
          <a:schemeClr val="tx1"/>
        </a:solidFill>
        <a:latin typeface="+mn-lt"/>
        <a:ea typeface="+mn-ea"/>
        <a:cs typeface="+mn-cs"/>
      </a:defRPr>
    </a:lvl8pPr>
    <a:lvl9pPr marL="2742103" algn="l" defTabSz="685526" rtl="0" eaLnBrk="1" latinLnBrk="0" hangingPunct="1">
      <a:defRPr sz="1349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57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eff Kehne" initials="JK" lastIdx="2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43EB6"/>
    <a:srgbClr val="DBA973"/>
    <a:srgbClr val="E2BA8E"/>
    <a:srgbClr val="0D2875"/>
    <a:srgbClr val="103394"/>
    <a:srgbClr val="1239A6"/>
    <a:srgbClr val="1D20AD"/>
    <a:srgbClr val="3133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825" autoAdjust="0"/>
    <p:restoredTop sz="92330" autoAdjust="0"/>
  </p:normalViewPr>
  <p:slideViewPr>
    <p:cSldViewPr snapToGrid="0">
      <p:cViewPr varScale="1">
        <p:scale>
          <a:sx n="88" d="100"/>
          <a:sy n="88" d="100"/>
        </p:scale>
        <p:origin x="804" y="64"/>
      </p:cViewPr>
      <p:guideLst>
        <p:guide orient="horz" pos="1620"/>
        <p:guide pos="285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Xls\DK%20Load,%20Production,%202017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Xls\Energy%20storage%202014,%20Rev.3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1" dirty="0">
                <a:latin typeface="+mn-lt"/>
                <a:cs typeface="Arial" panose="020B0604020202020204" pitchFamily="34" charset="0"/>
              </a:rPr>
              <a:t>Spot price as function of wind power</a:t>
            </a:r>
            <a:r>
              <a:rPr lang="en-US" sz="1800" b="1" baseline="0" dirty="0">
                <a:latin typeface="+mn-lt"/>
                <a:cs typeface="Arial" panose="020B0604020202020204" pitchFamily="34" charset="0"/>
              </a:rPr>
              <a:t> share</a:t>
            </a:r>
            <a:endParaRPr lang="en-US" sz="1800" b="1" dirty="0">
              <a:latin typeface="+mn-lt"/>
              <a:cs typeface="Arial" panose="020B0604020202020204" pitchFamily="34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lineMarker"/>
        <c:varyColors val="0"/>
        <c:ser>
          <c:idx val="0"/>
          <c:order val="0"/>
          <c:spPr>
            <a:ln w="19050" cap="rnd">
              <a:noFill/>
              <a:round/>
            </a:ln>
            <a:effectLst/>
          </c:spPr>
          <c:marker>
            <c:symbol val="triangle"/>
            <c:size val="4"/>
            <c:spPr>
              <a:solidFill>
                <a:schemeClr val="accent1"/>
              </a:solidFill>
              <a:ln w="1270">
                <a:noFill/>
              </a:ln>
              <a:effectLst/>
            </c:spPr>
          </c:marker>
          <c:trendline>
            <c:spPr>
              <a:ln w="38100" cap="rnd">
                <a:solidFill>
                  <a:schemeClr val="tx1"/>
                </a:solidFill>
                <a:prstDash val="solid"/>
              </a:ln>
              <a:effectLst/>
            </c:spPr>
            <c:trendlineType val="linear"/>
            <c:dispRSqr val="1"/>
            <c:dispEq val="1"/>
            <c:trendlineLbl>
              <c:layout>
                <c:manualLayout>
                  <c:x val="-9.283312277587441E-3"/>
                  <c:y val="-0.28923531691890253"/>
                </c:manualLayout>
              </c:layout>
              <c:numFmt formatCode="#,##0.0" sourceLinked="0"/>
              <c:spPr>
                <a:solidFill>
                  <a:schemeClr val="bg1"/>
                </a:solidFill>
                <a:ln>
                  <a:solidFill>
                    <a:schemeClr val="tx1"/>
                  </a:solidFill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8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</c:trendlineLbl>
          </c:trendline>
          <c:xVal>
            <c:numRef>
              <c:f>Data!$E$5:$E$8763</c:f>
              <c:numCache>
                <c:formatCode>0%</c:formatCode>
                <c:ptCount val="8759"/>
                <c:pt idx="0">
                  <c:v>1.0914574934526087</c:v>
                </c:pt>
                <c:pt idx="1">
                  <c:v>1.075415930282162</c:v>
                </c:pt>
                <c:pt idx="2">
                  <c:v>1.0631632947513545</c:v>
                </c:pt>
                <c:pt idx="3">
                  <c:v>1.0104328817937933</c:v>
                </c:pt>
                <c:pt idx="4">
                  <c:v>0.96598242482493479</c:v>
                </c:pt>
                <c:pt idx="5">
                  <c:v>0.83029311425189722</c:v>
                </c:pt>
                <c:pt idx="6">
                  <c:v>0.72202418396589096</c:v>
                </c:pt>
                <c:pt idx="7">
                  <c:v>0.68076052818209443</c:v>
                </c:pt>
                <c:pt idx="8">
                  <c:v>0.64686371100164208</c:v>
                </c:pt>
                <c:pt idx="9">
                  <c:v>0.5744148986032559</c:v>
                </c:pt>
                <c:pt idx="10">
                  <c:v>0.49570527053874014</c:v>
                </c:pt>
                <c:pt idx="11">
                  <c:v>0.4468859342197341</c:v>
                </c:pt>
                <c:pt idx="12">
                  <c:v>0.41838478500551268</c:v>
                </c:pt>
                <c:pt idx="13">
                  <c:v>0.38801270619705747</c:v>
                </c:pt>
                <c:pt idx="14">
                  <c:v>0.34496004486190951</c:v>
                </c:pt>
                <c:pt idx="15">
                  <c:v>0.27178446005267776</c:v>
                </c:pt>
                <c:pt idx="16">
                  <c:v>0.24710259697815321</c:v>
                </c:pt>
                <c:pt idx="17">
                  <c:v>0.19822032720025956</c:v>
                </c:pt>
                <c:pt idx="18">
                  <c:v>0.18200777324864914</c:v>
                </c:pt>
                <c:pt idx="19">
                  <c:v>0.20601266614934041</c:v>
                </c:pt>
                <c:pt idx="20">
                  <c:v>0.28489975105067322</c:v>
                </c:pt>
                <c:pt idx="21">
                  <c:v>0.35625640441762496</c:v>
                </c:pt>
                <c:pt idx="22">
                  <c:v>0.41928912402322965</c:v>
                </c:pt>
                <c:pt idx="23">
                  <c:v>0.47428459683201879</c:v>
                </c:pt>
                <c:pt idx="24">
                  <c:v>0.52818656741899139</c:v>
                </c:pt>
                <c:pt idx="25">
                  <c:v>0.5182800965608928</c:v>
                </c:pt>
                <c:pt idx="26">
                  <c:v>0.50974512743628186</c:v>
                </c:pt>
                <c:pt idx="27">
                  <c:v>0.5333237935105356</c:v>
                </c:pt>
                <c:pt idx="28">
                  <c:v>0.41594172880419772</c:v>
                </c:pt>
                <c:pt idx="29">
                  <c:v>0.35002054296640434</c:v>
                </c:pt>
                <c:pt idx="30">
                  <c:v>0.22460319570361309</c:v>
                </c:pt>
                <c:pt idx="31">
                  <c:v>0.17355188343994316</c:v>
                </c:pt>
                <c:pt idx="32">
                  <c:v>0.1652468078962025</c:v>
                </c:pt>
                <c:pt idx="33">
                  <c:v>0.20289057403783428</c:v>
                </c:pt>
                <c:pt idx="34">
                  <c:v>0.2202828769184472</c:v>
                </c:pt>
                <c:pt idx="35">
                  <c:v>0.23854425481650438</c:v>
                </c:pt>
                <c:pt idx="36">
                  <c:v>0.2310645797490663</c:v>
                </c:pt>
                <c:pt idx="37">
                  <c:v>0.21598543354052865</c:v>
                </c:pt>
                <c:pt idx="38">
                  <c:v>0.2162184998204516</c:v>
                </c:pt>
                <c:pt idx="39">
                  <c:v>0.19881701965273804</c:v>
                </c:pt>
                <c:pt idx="40">
                  <c:v>0.19000435971622209</c:v>
                </c:pt>
                <c:pt idx="41">
                  <c:v>0.18079188780069666</c:v>
                </c:pt>
                <c:pt idx="42">
                  <c:v>0.19767441860465118</c:v>
                </c:pt>
                <c:pt idx="43">
                  <c:v>0.23163796069541989</c:v>
                </c:pt>
                <c:pt idx="44">
                  <c:v>0.28063155618038282</c:v>
                </c:pt>
                <c:pt idx="45">
                  <c:v>0.29561360959046495</c:v>
                </c:pt>
                <c:pt idx="46">
                  <c:v>0.28639224444218858</c:v>
                </c:pt>
                <c:pt idx="47">
                  <c:v>0.31876856602754522</c:v>
                </c:pt>
                <c:pt idx="48">
                  <c:v>0.38521480270838199</c:v>
                </c:pt>
                <c:pt idx="49">
                  <c:v>0.48197349315703292</c:v>
                </c:pt>
                <c:pt idx="50">
                  <c:v>0.5289496103240463</c:v>
                </c:pt>
                <c:pt idx="51">
                  <c:v>0.56603654892586419</c:v>
                </c:pt>
                <c:pt idx="52">
                  <c:v>0.57077175697865357</c:v>
                </c:pt>
                <c:pt idx="53">
                  <c:v>0.54978488014751081</c:v>
                </c:pt>
                <c:pt idx="54">
                  <c:v>0.50363224961295705</c:v>
                </c:pt>
                <c:pt idx="55">
                  <c:v>0.4788894963853958</c:v>
                </c:pt>
                <c:pt idx="56">
                  <c:v>0.4771423703787836</c:v>
                </c:pt>
                <c:pt idx="57">
                  <c:v>0.52126695123333211</c:v>
                </c:pt>
                <c:pt idx="58">
                  <c:v>0.58343569700353626</c:v>
                </c:pt>
                <c:pt idx="59">
                  <c:v>0.69756758792077711</c:v>
                </c:pt>
                <c:pt idx="60">
                  <c:v>0.77154171267562721</c:v>
                </c:pt>
                <c:pt idx="61">
                  <c:v>0.82952744017513413</c:v>
                </c:pt>
                <c:pt idx="62">
                  <c:v>0.82136734424747071</c:v>
                </c:pt>
                <c:pt idx="63">
                  <c:v>0.87726756824346441</c:v>
                </c:pt>
                <c:pt idx="64">
                  <c:v>0.84809307143121371</c:v>
                </c:pt>
                <c:pt idx="65">
                  <c:v>0.82869782853919904</c:v>
                </c:pt>
                <c:pt idx="66">
                  <c:v>0.85705925384052661</c:v>
                </c:pt>
                <c:pt idx="67">
                  <c:v>0.89147107118709545</c:v>
                </c:pt>
                <c:pt idx="68">
                  <c:v>0.94664243825885863</c:v>
                </c:pt>
                <c:pt idx="69">
                  <c:v>0.96734450553090001</c:v>
                </c:pt>
                <c:pt idx="70">
                  <c:v>1.0232440504865594</c:v>
                </c:pt>
                <c:pt idx="71">
                  <c:v>1.0823865812249485</c:v>
                </c:pt>
                <c:pt idx="72">
                  <c:v>1.123601248117065</c:v>
                </c:pt>
                <c:pt idx="73">
                  <c:v>1.0843896409991087</c:v>
                </c:pt>
                <c:pt idx="74">
                  <c:v>1.0824851025004989</c:v>
                </c:pt>
                <c:pt idx="75">
                  <c:v>1.0452324127741788</c:v>
                </c:pt>
                <c:pt idx="76">
                  <c:v>1.1276138642222859</c:v>
                </c:pt>
                <c:pt idx="77">
                  <c:v>1.0821589205397302</c:v>
                </c:pt>
                <c:pt idx="78">
                  <c:v>0.92191123082328152</c:v>
                </c:pt>
                <c:pt idx="79">
                  <c:v>0.80366129970124123</c:v>
                </c:pt>
                <c:pt idx="80">
                  <c:v>0.76646650049097365</c:v>
                </c:pt>
                <c:pt idx="81">
                  <c:v>0.76184213034444626</c:v>
                </c:pt>
                <c:pt idx="82">
                  <c:v>0.74898080272551537</c:v>
                </c:pt>
                <c:pt idx="83">
                  <c:v>0.74655907958998502</c:v>
                </c:pt>
                <c:pt idx="84">
                  <c:v>0.77744130255240507</c:v>
                </c:pt>
                <c:pt idx="85">
                  <c:v>0.75731614712124462</c:v>
                </c:pt>
                <c:pt idx="86">
                  <c:v>0.72347266881028938</c:v>
                </c:pt>
                <c:pt idx="87">
                  <c:v>0.68923670410479987</c:v>
                </c:pt>
                <c:pt idx="88">
                  <c:v>0.64178792201616741</c:v>
                </c:pt>
                <c:pt idx="89">
                  <c:v>0.59116635810632112</c:v>
                </c:pt>
                <c:pt idx="90">
                  <c:v>0.59893449525832088</c:v>
                </c:pt>
                <c:pt idx="91">
                  <c:v>0.60582429395094295</c:v>
                </c:pt>
                <c:pt idx="92">
                  <c:v>0.5909337676438654</c:v>
                </c:pt>
                <c:pt idx="93">
                  <c:v>0.5679112189423553</c:v>
                </c:pt>
                <c:pt idx="94">
                  <c:v>0.57199990185734972</c:v>
                </c:pt>
                <c:pt idx="95">
                  <c:v>0.61602071279490633</c:v>
                </c:pt>
                <c:pt idx="96">
                  <c:v>0.59333460709119201</c:v>
                </c:pt>
                <c:pt idx="97">
                  <c:v>0.58907642490758516</c:v>
                </c:pt>
                <c:pt idx="98">
                  <c:v>0.58305459410721039</c:v>
                </c:pt>
                <c:pt idx="99">
                  <c:v>0.59214080334582209</c:v>
                </c:pt>
                <c:pt idx="100">
                  <c:v>0.58107837241932248</c:v>
                </c:pt>
                <c:pt idx="101">
                  <c:v>0.55865118261240143</c:v>
                </c:pt>
                <c:pt idx="102">
                  <c:v>0.48690768849094485</c:v>
                </c:pt>
                <c:pt idx="103">
                  <c:v>0.40897650200780061</c:v>
                </c:pt>
                <c:pt idx="104">
                  <c:v>0.36810265811182402</c:v>
                </c:pt>
                <c:pt idx="105">
                  <c:v>0.31343503574323828</c:v>
                </c:pt>
                <c:pt idx="106">
                  <c:v>0.27914217167554894</c:v>
                </c:pt>
                <c:pt idx="107">
                  <c:v>0.25072523058613505</c:v>
                </c:pt>
                <c:pt idx="108">
                  <c:v>0.21659328720910284</c:v>
                </c:pt>
                <c:pt idx="109">
                  <c:v>0.17693441273851218</c:v>
                </c:pt>
                <c:pt idx="110">
                  <c:v>0.15607950492568098</c:v>
                </c:pt>
                <c:pt idx="111">
                  <c:v>0.14589328770319671</c:v>
                </c:pt>
                <c:pt idx="112">
                  <c:v>0.11901874310915106</c:v>
                </c:pt>
                <c:pt idx="113">
                  <c:v>9.8130682589225138E-2</c:v>
                </c:pt>
                <c:pt idx="114">
                  <c:v>9.3197314683353488E-2</c:v>
                </c:pt>
                <c:pt idx="115">
                  <c:v>9.3734867955451273E-2</c:v>
                </c:pt>
                <c:pt idx="116">
                  <c:v>9.1543570932883914E-2</c:v>
                </c:pt>
                <c:pt idx="117">
                  <c:v>7.9597573605562952E-2</c:v>
                </c:pt>
                <c:pt idx="118">
                  <c:v>5.4862557506122532E-2</c:v>
                </c:pt>
                <c:pt idx="119">
                  <c:v>4.5575210261244947E-2</c:v>
                </c:pt>
                <c:pt idx="120">
                  <c:v>4.3544330329071471E-2</c:v>
                </c:pt>
                <c:pt idx="121">
                  <c:v>4.5364997975981647E-2</c:v>
                </c:pt>
                <c:pt idx="122">
                  <c:v>6.9967412438042553E-2</c:v>
                </c:pt>
                <c:pt idx="123">
                  <c:v>0.10980125238224885</c:v>
                </c:pt>
                <c:pt idx="124">
                  <c:v>0.14649122807017545</c:v>
                </c:pt>
                <c:pt idx="125">
                  <c:v>0.18518149926604136</c:v>
                </c:pt>
                <c:pt idx="126">
                  <c:v>0.17451244835484767</c:v>
                </c:pt>
                <c:pt idx="127">
                  <c:v>0.17351370331355917</c:v>
                </c:pt>
                <c:pt idx="128">
                  <c:v>0.2089041095890411</c:v>
                </c:pt>
                <c:pt idx="129">
                  <c:v>0.26256037355860917</c:v>
                </c:pt>
                <c:pt idx="130">
                  <c:v>0.26493073002655948</c:v>
                </c:pt>
                <c:pt idx="131">
                  <c:v>0.29201340304882534</c:v>
                </c:pt>
                <c:pt idx="132">
                  <c:v>0.3410076359310848</c:v>
                </c:pt>
                <c:pt idx="133">
                  <c:v>0.40191603158121592</c:v>
                </c:pt>
                <c:pt idx="134">
                  <c:v>0.44436450839328534</c:v>
                </c:pt>
                <c:pt idx="135">
                  <c:v>0.46217882013927808</c:v>
                </c:pt>
                <c:pt idx="136">
                  <c:v>0.45868608195055877</c:v>
                </c:pt>
                <c:pt idx="137">
                  <c:v>0.45770673397132539</c:v>
                </c:pt>
                <c:pt idx="138">
                  <c:v>0.48409887607965008</c:v>
                </c:pt>
                <c:pt idx="139">
                  <c:v>0.53518533030326787</c:v>
                </c:pt>
                <c:pt idx="140">
                  <c:v>0.59935802677704098</c:v>
                </c:pt>
                <c:pt idx="141">
                  <c:v>0.67474210690840886</c:v>
                </c:pt>
                <c:pt idx="142">
                  <c:v>0.76580997070242729</c:v>
                </c:pt>
                <c:pt idx="143">
                  <c:v>0.85117274046909619</c:v>
                </c:pt>
                <c:pt idx="144">
                  <c:v>0.92359018510546709</c:v>
                </c:pt>
                <c:pt idx="145">
                  <c:v>0.96158500548785653</c:v>
                </c:pt>
                <c:pt idx="146">
                  <c:v>0.98138075915853695</c:v>
                </c:pt>
                <c:pt idx="147">
                  <c:v>0.98900237943241842</c:v>
                </c:pt>
                <c:pt idx="148">
                  <c:v>0.96000229542063598</c:v>
                </c:pt>
                <c:pt idx="149">
                  <c:v>0.92296149490373725</c:v>
                </c:pt>
                <c:pt idx="150">
                  <c:v>0.82134302247342206</c:v>
                </c:pt>
                <c:pt idx="151">
                  <c:v>0.71487811007790902</c:v>
                </c:pt>
                <c:pt idx="152">
                  <c:v>0.63724924398070137</c:v>
                </c:pt>
                <c:pt idx="153">
                  <c:v>0.56964446692025239</c:v>
                </c:pt>
                <c:pt idx="154">
                  <c:v>0.491852487135506</c:v>
                </c:pt>
                <c:pt idx="155">
                  <c:v>0.4649010917738623</c:v>
                </c:pt>
                <c:pt idx="156">
                  <c:v>0.46424001764835654</c:v>
                </c:pt>
                <c:pt idx="157">
                  <c:v>0.44984864229882982</c:v>
                </c:pt>
                <c:pt idx="158">
                  <c:v>0.43648186173853526</c:v>
                </c:pt>
                <c:pt idx="159">
                  <c:v>0.38894402093012764</c:v>
                </c:pt>
                <c:pt idx="160">
                  <c:v>0.33580395013067138</c:v>
                </c:pt>
                <c:pt idx="161">
                  <c:v>0.29173860411581432</c:v>
                </c:pt>
                <c:pt idx="162">
                  <c:v>0.28313731884796473</c:v>
                </c:pt>
                <c:pt idx="163">
                  <c:v>0.25037004307964211</c:v>
                </c:pt>
                <c:pt idx="164">
                  <c:v>0.19395667853018125</c:v>
                </c:pt>
                <c:pt idx="165">
                  <c:v>0.17729518268676181</c:v>
                </c:pt>
                <c:pt idx="166">
                  <c:v>0.15364277320799058</c:v>
                </c:pt>
                <c:pt idx="167">
                  <c:v>0.13946536851994193</c:v>
                </c:pt>
                <c:pt idx="168">
                  <c:v>0.10907133887460382</c:v>
                </c:pt>
                <c:pt idx="169">
                  <c:v>7.2791339957461676E-2</c:v>
                </c:pt>
                <c:pt idx="170">
                  <c:v>4.830257461836409E-2</c:v>
                </c:pt>
                <c:pt idx="171">
                  <c:v>3.8080010441819488E-2</c:v>
                </c:pt>
                <c:pt idx="172">
                  <c:v>3.3043983348930273E-2</c:v>
                </c:pt>
                <c:pt idx="173">
                  <c:v>3.1599278092644782E-2</c:v>
                </c:pt>
                <c:pt idx="174">
                  <c:v>3.171158135889552E-2</c:v>
                </c:pt>
                <c:pt idx="175">
                  <c:v>3.3311889911336108E-2</c:v>
                </c:pt>
                <c:pt idx="176">
                  <c:v>2.5646296962532768E-2</c:v>
                </c:pt>
                <c:pt idx="177">
                  <c:v>2.536890310387439E-2</c:v>
                </c:pt>
                <c:pt idx="178">
                  <c:v>3.4837355718782791E-2</c:v>
                </c:pt>
                <c:pt idx="179">
                  <c:v>4.9860280363040112E-2</c:v>
                </c:pt>
                <c:pt idx="180">
                  <c:v>6.5668792774337709E-2</c:v>
                </c:pt>
                <c:pt idx="181">
                  <c:v>9.1378822197055509E-2</c:v>
                </c:pt>
                <c:pt idx="182">
                  <c:v>0.13204912795513171</c:v>
                </c:pt>
                <c:pt idx="183">
                  <c:v>0.16233007894613913</c:v>
                </c:pt>
                <c:pt idx="184">
                  <c:v>0.15527681660899653</c:v>
                </c:pt>
                <c:pt idx="185">
                  <c:v>0.16133912257608207</c:v>
                </c:pt>
                <c:pt idx="186">
                  <c:v>0.1805853678107886</c:v>
                </c:pt>
                <c:pt idx="187">
                  <c:v>0.19287776293679174</c:v>
                </c:pt>
                <c:pt idx="188">
                  <c:v>0.23953001395998139</c:v>
                </c:pt>
                <c:pt idx="189">
                  <c:v>0.26060666137985722</c:v>
                </c:pt>
                <c:pt idx="190">
                  <c:v>0.29228119280869841</c:v>
                </c:pt>
                <c:pt idx="191">
                  <c:v>0.31809046689773685</c:v>
                </c:pt>
                <c:pt idx="192">
                  <c:v>0.31778100925095137</c:v>
                </c:pt>
                <c:pt idx="193">
                  <c:v>0.32883113557803101</c:v>
                </c:pt>
                <c:pt idx="194">
                  <c:v>0.33979290421008213</c:v>
                </c:pt>
                <c:pt idx="195">
                  <c:v>0.35448521092613544</c:v>
                </c:pt>
                <c:pt idx="196">
                  <c:v>0.32562729066817026</c:v>
                </c:pt>
                <c:pt idx="197">
                  <c:v>0.30921756221637714</c:v>
                </c:pt>
                <c:pt idx="198">
                  <c:v>0.27868695568953961</c:v>
                </c:pt>
                <c:pt idx="199">
                  <c:v>0.24880933161123669</c:v>
                </c:pt>
                <c:pt idx="200">
                  <c:v>0.26850113057141761</c:v>
                </c:pt>
                <c:pt idx="201">
                  <c:v>0.29882154882154882</c:v>
                </c:pt>
                <c:pt idx="202">
                  <c:v>0.32919849118922062</c:v>
                </c:pt>
                <c:pt idx="203">
                  <c:v>0.38271651751858032</c:v>
                </c:pt>
                <c:pt idx="204">
                  <c:v>0.41700271423032187</c:v>
                </c:pt>
                <c:pt idx="205">
                  <c:v>0.44431714468804018</c:v>
                </c:pt>
                <c:pt idx="206">
                  <c:v>0.47140771143296895</c:v>
                </c:pt>
                <c:pt idx="207">
                  <c:v>0.50035945363048173</c:v>
                </c:pt>
                <c:pt idx="208">
                  <c:v>0.49468502805922121</c:v>
                </c:pt>
                <c:pt idx="209">
                  <c:v>0.49960943047862522</c:v>
                </c:pt>
                <c:pt idx="210">
                  <c:v>0.56522057611661514</c:v>
                </c:pt>
                <c:pt idx="211">
                  <c:v>0.64218854032036965</c:v>
                </c:pt>
                <c:pt idx="212">
                  <c:v>0.71528902159513841</c:v>
                </c:pt>
                <c:pt idx="213">
                  <c:v>0.77365475102022629</c:v>
                </c:pt>
                <c:pt idx="214">
                  <c:v>0.84744364368736491</c:v>
                </c:pt>
                <c:pt idx="215">
                  <c:v>0.92705949656750575</c:v>
                </c:pt>
                <c:pt idx="216">
                  <c:v>0.97092281378112011</c:v>
                </c:pt>
                <c:pt idx="217">
                  <c:v>0.98437978560490036</c:v>
                </c:pt>
                <c:pt idx="218">
                  <c:v>1.0096023919730901</c:v>
                </c:pt>
                <c:pt idx="219">
                  <c:v>0.97542255706989478</c:v>
                </c:pt>
                <c:pt idx="220">
                  <c:v>0.85404553605390421</c:v>
                </c:pt>
                <c:pt idx="221">
                  <c:v>0.82378308586184645</c:v>
                </c:pt>
                <c:pt idx="222">
                  <c:v>0.69159607668301382</c:v>
                </c:pt>
                <c:pt idx="223">
                  <c:v>0.57423380077842323</c:v>
                </c:pt>
                <c:pt idx="224">
                  <c:v>0.51833320887163015</c:v>
                </c:pt>
                <c:pt idx="225">
                  <c:v>0.50717801860482525</c:v>
                </c:pt>
                <c:pt idx="226">
                  <c:v>0.49629740165264585</c:v>
                </c:pt>
                <c:pt idx="227">
                  <c:v>0.4801367418621687</c:v>
                </c:pt>
                <c:pt idx="228">
                  <c:v>0.47333065395877583</c:v>
                </c:pt>
                <c:pt idx="229">
                  <c:v>0.45145242451967066</c:v>
                </c:pt>
                <c:pt idx="230">
                  <c:v>0.4472553515346524</c:v>
                </c:pt>
                <c:pt idx="231">
                  <c:v>0.4625731795665029</c:v>
                </c:pt>
                <c:pt idx="232">
                  <c:v>0.45582219541161612</c:v>
                </c:pt>
                <c:pt idx="233">
                  <c:v>0.44556419475390086</c:v>
                </c:pt>
                <c:pt idx="234">
                  <c:v>0.50772426327404896</c:v>
                </c:pt>
                <c:pt idx="235">
                  <c:v>0.5790622890944459</c:v>
                </c:pt>
                <c:pt idx="236">
                  <c:v>0.63520283089254115</c:v>
                </c:pt>
                <c:pt idx="237">
                  <c:v>0.67847945486451378</c:v>
                </c:pt>
                <c:pt idx="238">
                  <c:v>0.73043132972651004</c:v>
                </c:pt>
                <c:pt idx="239">
                  <c:v>0.79916340287213916</c:v>
                </c:pt>
                <c:pt idx="240">
                  <c:v>0.86807976572305123</c:v>
                </c:pt>
                <c:pt idx="241">
                  <c:v>0.9688429029437482</c:v>
                </c:pt>
                <c:pt idx="242">
                  <c:v>1.0532797624246659</c:v>
                </c:pt>
                <c:pt idx="243">
                  <c:v>1.1054444033355153</c:v>
                </c:pt>
                <c:pt idx="244">
                  <c:v>1.0906968440135139</c:v>
                </c:pt>
                <c:pt idx="245">
                  <c:v>1.1172872818852311</c:v>
                </c:pt>
                <c:pt idx="246">
                  <c:v>1.0074693886491577</c:v>
                </c:pt>
                <c:pt idx="247">
                  <c:v>0.90859427048634245</c:v>
                </c:pt>
                <c:pt idx="248">
                  <c:v>0.87105358435916003</c:v>
                </c:pt>
                <c:pt idx="249">
                  <c:v>0.83719170555065126</c:v>
                </c:pt>
                <c:pt idx="250">
                  <c:v>0.73823251164700221</c:v>
                </c:pt>
                <c:pt idx="251">
                  <c:v>0.74453502633287649</c:v>
                </c:pt>
                <c:pt idx="252">
                  <c:v>0.78218422504136798</c:v>
                </c:pt>
                <c:pt idx="253">
                  <c:v>0.80510065617041837</c:v>
                </c:pt>
                <c:pt idx="254">
                  <c:v>0.82547896729514281</c:v>
                </c:pt>
                <c:pt idx="255">
                  <c:v>0.84300194931773886</c:v>
                </c:pt>
                <c:pt idx="256">
                  <c:v>0.81876992312019503</c:v>
                </c:pt>
                <c:pt idx="257">
                  <c:v>0.76811288593670357</c:v>
                </c:pt>
                <c:pt idx="258">
                  <c:v>0.79986106540894297</c:v>
                </c:pt>
                <c:pt idx="259">
                  <c:v>0.84623714131023287</c:v>
                </c:pt>
                <c:pt idx="260">
                  <c:v>0.90911155148212386</c:v>
                </c:pt>
                <c:pt idx="261">
                  <c:v>0.90524158757549611</c:v>
                </c:pt>
                <c:pt idx="262">
                  <c:v>0.95437377599552353</c:v>
                </c:pt>
                <c:pt idx="263">
                  <c:v>1.0071895424836603</c:v>
                </c:pt>
                <c:pt idx="264">
                  <c:v>1.0906010724861936</c:v>
                </c:pt>
                <c:pt idx="265">
                  <c:v>1.0936128182616329</c:v>
                </c:pt>
                <c:pt idx="266">
                  <c:v>1.0838203372850226</c:v>
                </c:pt>
                <c:pt idx="267">
                  <c:v>1.0542339832869081</c:v>
                </c:pt>
                <c:pt idx="268">
                  <c:v>1.0750243585579735</c:v>
                </c:pt>
                <c:pt idx="269">
                  <c:v>1.0154338224095041</c:v>
                </c:pt>
                <c:pt idx="270">
                  <c:v>0.95189639222941702</c:v>
                </c:pt>
                <c:pt idx="271">
                  <c:v>0.82581370989641922</c:v>
                </c:pt>
                <c:pt idx="272">
                  <c:v>0.79439096321851876</c:v>
                </c:pt>
                <c:pt idx="273">
                  <c:v>0.80990313773888334</c:v>
                </c:pt>
                <c:pt idx="274">
                  <c:v>0.80177926049485682</c:v>
                </c:pt>
                <c:pt idx="275">
                  <c:v>0.83015673742676721</c:v>
                </c:pt>
                <c:pt idx="276">
                  <c:v>0.83899923605805959</c:v>
                </c:pt>
                <c:pt idx="277">
                  <c:v>0.84065157179104766</c:v>
                </c:pt>
                <c:pt idx="278">
                  <c:v>0.83951053065066483</c:v>
                </c:pt>
                <c:pt idx="279">
                  <c:v>0.8149857174247418</c:v>
                </c:pt>
                <c:pt idx="280">
                  <c:v>0.71836492209808167</c:v>
                </c:pt>
                <c:pt idx="281">
                  <c:v>0.62170407107432124</c:v>
                </c:pt>
                <c:pt idx="282">
                  <c:v>0.56978800230796434</c:v>
                </c:pt>
                <c:pt idx="283">
                  <c:v>0.5350204244296104</c:v>
                </c:pt>
                <c:pt idx="284">
                  <c:v>0.48619295453567901</c:v>
                </c:pt>
                <c:pt idx="285">
                  <c:v>0.44277018490869413</c:v>
                </c:pt>
                <c:pt idx="286">
                  <c:v>0.4127458614886082</c:v>
                </c:pt>
                <c:pt idx="287">
                  <c:v>0.36371384581546251</c:v>
                </c:pt>
                <c:pt idx="288">
                  <c:v>0.30163521275348731</c:v>
                </c:pt>
                <c:pt idx="289">
                  <c:v>0.22677753163596634</c:v>
                </c:pt>
                <c:pt idx="290">
                  <c:v>0.18798008971916672</c:v>
                </c:pt>
                <c:pt idx="291">
                  <c:v>0.16852350636630756</c:v>
                </c:pt>
                <c:pt idx="292">
                  <c:v>0.12714226412856547</c:v>
                </c:pt>
                <c:pt idx="293">
                  <c:v>9.4469663418954825E-2</c:v>
                </c:pt>
                <c:pt idx="294">
                  <c:v>8.7315157116451006E-2</c:v>
                </c:pt>
                <c:pt idx="295">
                  <c:v>8.7840915843054923E-2</c:v>
                </c:pt>
                <c:pt idx="296">
                  <c:v>8.4478814120138412E-2</c:v>
                </c:pt>
                <c:pt idx="297">
                  <c:v>0.10603283696067201</c:v>
                </c:pt>
                <c:pt idx="298">
                  <c:v>0.12598455157718502</c:v>
                </c:pt>
                <c:pt idx="299">
                  <c:v>0.13200807578816587</c:v>
                </c:pt>
                <c:pt idx="300">
                  <c:v>0.14340928406653447</c:v>
                </c:pt>
                <c:pt idx="301">
                  <c:v>0.16094126443465978</c:v>
                </c:pt>
                <c:pt idx="302">
                  <c:v>0.18173594658625888</c:v>
                </c:pt>
                <c:pt idx="303">
                  <c:v>0.19090909090909089</c:v>
                </c:pt>
                <c:pt idx="304">
                  <c:v>0.18849644346333091</c:v>
                </c:pt>
                <c:pt idx="305">
                  <c:v>0.16815322504929114</c:v>
                </c:pt>
                <c:pt idx="306">
                  <c:v>0.16008252464277528</c:v>
                </c:pt>
                <c:pt idx="307">
                  <c:v>0.16395479075450564</c:v>
                </c:pt>
                <c:pt idx="308">
                  <c:v>0.17030278989818853</c:v>
                </c:pt>
                <c:pt idx="309">
                  <c:v>0.14948700738325821</c:v>
                </c:pt>
                <c:pt idx="310">
                  <c:v>0.14145988045643906</c:v>
                </c:pt>
                <c:pt idx="311">
                  <c:v>0.18988156900075598</c:v>
                </c:pt>
                <c:pt idx="312">
                  <c:v>0.26631822771277547</c:v>
                </c:pt>
                <c:pt idx="313">
                  <c:v>0.36572042350774897</c:v>
                </c:pt>
                <c:pt idx="314">
                  <c:v>0.50690347490347487</c:v>
                </c:pt>
                <c:pt idx="315">
                  <c:v>0.59044652769211792</c:v>
                </c:pt>
                <c:pt idx="316">
                  <c:v>0.58578957043936508</c:v>
                </c:pt>
                <c:pt idx="317">
                  <c:v>0.59597351628269268</c:v>
                </c:pt>
                <c:pt idx="318">
                  <c:v>0.58826740210865003</c:v>
                </c:pt>
                <c:pt idx="319">
                  <c:v>0.50775510204081631</c:v>
                </c:pt>
                <c:pt idx="320">
                  <c:v>0.45109073058595339</c:v>
                </c:pt>
                <c:pt idx="321">
                  <c:v>0.45204426324985442</c:v>
                </c:pt>
                <c:pt idx="322">
                  <c:v>0.44089398280802294</c:v>
                </c:pt>
                <c:pt idx="323">
                  <c:v>0.44687109175969242</c:v>
                </c:pt>
                <c:pt idx="324">
                  <c:v>0.48654023723275802</c:v>
                </c:pt>
                <c:pt idx="325">
                  <c:v>0.4972329364413885</c:v>
                </c:pt>
                <c:pt idx="326">
                  <c:v>0.54613209355828218</c:v>
                </c:pt>
                <c:pt idx="327">
                  <c:v>0.55386860626603596</c:v>
                </c:pt>
                <c:pt idx="328">
                  <c:v>0.51133351007423122</c:v>
                </c:pt>
                <c:pt idx="329">
                  <c:v>0.48367737387977039</c:v>
                </c:pt>
                <c:pt idx="330">
                  <c:v>0.50850122036983414</c:v>
                </c:pt>
                <c:pt idx="331">
                  <c:v>0.52857236943206509</c:v>
                </c:pt>
                <c:pt idx="332">
                  <c:v>0.49148272275511384</c:v>
                </c:pt>
                <c:pt idx="333">
                  <c:v>0.49323764835771461</c:v>
                </c:pt>
                <c:pt idx="334">
                  <c:v>0.50874031841652323</c:v>
                </c:pt>
                <c:pt idx="335">
                  <c:v>0.56677229515617933</c:v>
                </c:pt>
                <c:pt idx="336">
                  <c:v>0.5874786874457838</c:v>
                </c:pt>
                <c:pt idx="337">
                  <c:v>0.59133020344287945</c:v>
                </c:pt>
                <c:pt idx="338">
                  <c:v>0.6181498641955584</c:v>
                </c:pt>
                <c:pt idx="339">
                  <c:v>0.57898807605543023</c:v>
                </c:pt>
                <c:pt idx="340">
                  <c:v>0.54814885862267404</c:v>
                </c:pt>
                <c:pt idx="341">
                  <c:v>0.47623833903948232</c:v>
                </c:pt>
                <c:pt idx="342">
                  <c:v>0.35929851956397707</c:v>
                </c:pt>
                <c:pt idx="343">
                  <c:v>0.25969444444444445</c:v>
                </c:pt>
                <c:pt idx="344">
                  <c:v>0.18902470472948579</c:v>
                </c:pt>
                <c:pt idx="345">
                  <c:v>0.14179596823457544</c:v>
                </c:pt>
                <c:pt idx="346">
                  <c:v>0.12629513531621639</c:v>
                </c:pt>
                <c:pt idx="347">
                  <c:v>0.10264463998849115</c:v>
                </c:pt>
                <c:pt idx="348">
                  <c:v>0.10480188540285756</c:v>
                </c:pt>
                <c:pt idx="349">
                  <c:v>0.10866310694146414</c:v>
                </c:pt>
                <c:pt idx="350">
                  <c:v>0.11467970414942961</c:v>
                </c:pt>
                <c:pt idx="351">
                  <c:v>9.694456784638926E-2</c:v>
                </c:pt>
                <c:pt idx="352">
                  <c:v>7.8164671744649972E-2</c:v>
                </c:pt>
                <c:pt idx="353">
                  <c:v>7.1942016288006991E-2</c:v>
                </c:pt>
                <c:pt idx="354">
                  <c:v>8.1079443311046939E-2</c:v>
                </c:pt>
                <c:pt idx="355">
                  <c:v>9.9884055481599177E-2</c:v>
                </c:pt>
                <c:pt idx="356">
                  <c:v>9.4158154481808795E-2</c:v>
                </c:pt>
                <c:pt idx="357">
                  <c:v>8.1548819912009907E-2</c:v>
                </c:pt>
                <c:pt idx="358">
                  <c:v>8.5408040253682052E-2</c:v>
                </c:pt>
                <c:pt idx="359">
                  <c:v>9.9168445892796941E-2</c:v>
                </c:pt>
                <c:pt idx="360">
                  <c:v>9.366712324774866E-2</c:v>
                </c:pt>
                <c:pt idx="361">
                  <c:v>9.1222082510029334E-2</c:v>
                </c:pt>
                <c:pt idx="362">
                  <c:v>9.9221141315877198E-2</c:v>
                </c:pt>
                <c:pt idx="363">
                  <c:v>0.10622677693875106</c:v>
                </c:pt>
                <c:pt idx="364">
                  <c:v>0.10508849557522125</c:v>
                </c:pt>
                <c:pt idx="365">
                  <c:v>0.11106341882176197</c:v>
                </c:pt>
                <c:pt idx="366">
                  <c:v>9.4210561843259932E-2</c:v>
                </c:pt>
                <c:pt idx="367">
                  <c:v>8.3000997008973065E-2</c:v>
                </c:pt>
                <c:pt idx="368">
                  <c:v>7.8292794860027534E-2</c:v>
                </c:pt>
                <c:pt idx="369">
                  <c:v>8.1489996847940963E-2</c:v>
                </c:pt>
                <c:pt idx="370">
                  <c:v>7.4742123817873207E-2</c:v>
                </c:pt>
                <c:pt idx="371">
                  <c:v>8.5354228628079024E-2</c:v>
                </c:pt>
                <c:pt idx="372">
                  <c:v>8.758162221697742E-2</c:v>
                </c:pt>
                <c:pt idx="373">
                  <c:v>8.4755831914135216E-2</c:v>
                </c:pt>
                <c:pt idx="374">
                  <c:v>8.8235885273249867E-2</c:v>
                </c:pt>
                <c:pt idx="375">
                  <c:v>8.0274156480709402E-2</c:v>
                </c:pt>
                <c:pt idx="376">
                  <c:v>7.6797576040088564E-2</c:v>
                </c:pt>
                <c:pt idx="377">
                  <c:v>5.9037350518903541E-2</c:v>
                </c:pt>
                <c:pt idx="378">
                  <c:v>5.4324856081031846E-2</c:v>
                </c:pt>
                <c:pt idx="379">
                  <c:v>5.8333978477974766E-2</c:v>
                </c:pt>
                <c:pt idx="380">
                  <c:v>6.7185858211261523E-2</c:v>
                </c:pt>
                <c:pt idx="381">
                  <c:v>6.2408142672253059E-2</c:v>
                </c:pt>
                <c:pt idx="382">
                  <c:v>4.7006314989791562E-2</c:v>
                </c:pt>
                <c:pt idx="383">
                  <c:v>3.4078502729399537E-2</c:v>
                </c:pt>
                <c:pt idx="384">
                  <c:v>2.7909689244355582E-2</c:v>
                </c:pt>
                <c:pt idx="385">
                  <c:v>3.1498778560137948E-2</c:v>
                </c:pt>
                <c:pt idx="386">
                  <c:v>3.5241523455643291E-2</c:v>
                </c:pt>
                <c:pt idx="387">
                  <c:v>4.9014230869151056E-2</c:v>
                </c:pt>
                <c:pt idx="388">
                  <c:v>6.3174854429306357E-2</c:v>
                </c:pt>
                <c:pt idx="389">
                  <c:v>6.2286533698344415E-2</c:v>
                </c:pt>
                <c:pt idx="390">
                  <c:v>5.4328768947380104E-2</c:v>
                </c:pt>
                <c:pt idx="391">
                  <c:v>5.2796684284573556E-2</c:v>
                </c:pt>
                <c:pt idx="392">
                  <c:v>6.2123659861947428E-2</c:v>
                </c:pt>
                <c:pt idx="393">
                  <c:v>6.9856741987889534E-2</c:v>
                </c:pt>
                <c:pt idx="394">
                  <c:v>8.1107253791339304E-2</c:v>
                </c:pt>
                <c:pt idx="395">
                  <c:v>0.10134884066587396</c:v>
                </c:pt>
                <c:pt idx="396">
                  <c:v>0.13130911089630595</c:v>
                </c:pt>
                <c:pt idx="397">
                  <c:v>0.13829666160849774</c:v>
                </c:pt>
                <c:pt idx="398">
                  <c:v>0.15430934974990382</c:v>
                </c:pt>
                <c:pt idx="399">
                  <c:v>0.17950227665253571</c:v>
                </c:pt>
                <c:pt idx="400">
                  <c:v>0.19734948882998865</c:v>
                </c:pt>
                <c:pt idx="401">
                  <c:v>0.20372080059923006</c:v>
                </c:pt>
                <c:pt idx="402">
                  <c:v>0.22457303084374203</c:v>
                </c:pt>
                <c:pt idx="403">
                  <c:v>0.25982922759839039</c:v>
                </c:pt>
                <c:pt idx="404">
                  <c:v>0.30683350185372427</c:v>
                </c:pt>
                <c:pt idx="405">
                  <c:v>0.36406144115653943</c:v>
                </c:pt>
                <c:pt idx="406">
                  <c:v>0.42443349753694581</c:v>
                </c:pt>
                <c:pt idx="407">
                  <c:v>0.48212351029252437</c:v>
                </c:pt>
                <c:pt idx="408">
                  <c:v>0.52649282695569666</c:v>
                </c:pt>
                <c:pt idx="409">
                  <c:v>0.55736776194167803</c:v>
                </c:pt>
                <c:pt idx="410">
                  <c:v>0.58729436046864558</c:v>
                </c:pt>
                <c:pt idx="411">
                  <c:v>0.5946247250595077</c:v>
                </c:pt>
                <c:pt idx="412">
                  <c:v>0.59392834029534625</c:v>
                </c:pt>
                <c:pt idx="413">
                  <c:v>0.55796645415492385</c:v>
                </c:pt>
                <c:pt idx="414">
                  <c:v>0.4667775237303402</c:v>
                </c:pt>
                <c:pt idx="415">
                  <c:v>0.40166532154878837</c:v>
                </c:pt>
                <c:pt idx="416">
                  <c:v>0.37552575491804829</c:v>
                </c:pt>
                <c:pt idx="417">
                  <c:v>0.3744643737438853</c:v>
                </c:pt>
                <c:pt idx="418">
                  <c:v>0.3814962771244772</c:v>
                </c:pt>
                <c:pt idx="419">
                  <c:v>0.41355016621335755</c:v>
                </c:pt>
                <c:pt idx="420">
                  <c:v>0.45161971290396868</c:v>
                </c:pt>
                <c:pt idx="421">
                  <c:v>0.48324349210612139</c:v>
                </c:pt>
                <c:pt idx="422">
                  <c:v>0.4896569171191158</c:v>
                </c:pt>
                <c:pt idx="423">
                  <c:v>0.47889915517480164</c:v>
                </c:pt>
                <c:pt idx="424">
                  <c:v>0.43839256696044504</c:v>
                </c:pt>
                <c:pt idx="425">
                  <c:v>0.40481987665949842</c:v>
                </c:pt>
                <c:pt idx="426">
                  <c:v>0.43328333020813797</c:v>
                </c:pt>
                <c:pt idx="427">
                  <c:v>0.47247835150737649</c:v>
                </c:pt>
                <c:pt idx="428">
                  <c:v>0.5081627862310335</c:v>
                </c:pt>
                <c:pt idx="429">
                  <c:v>0.54556886775196622</c:v>
                </c:pt>
                <c:pt idx="430">
                  <c:v>0.56618895435933281</c:v>
                </c:pt>
                <c:pt idx="431">
                  <c:v>0.58160342617092664</c:v>
                </c:pt>
                <c:pt idx="432">
                  <c:v>0.58214774082802367</c:v>
                </c:pt>
                <c:pt idx="433">
                  <c:v>0.55073856130659293</c:v>
                </c:pt>
                <c:pt idx="434">
                  <c:v>0.52895634274478487</c:v>
                </c:pt>
                <c:pt idx="435">
                  <c:v>0.53414798480950643</c:v>
                </c:pt>
                <c:pt idx="436">
                  <c:v>0.56012705642623828</c:v>
                </c:pt>
                <c:pt idx="437">
                  <c:v>0.53777592669720953</c:v>
                </c:pt>
                <c:pt idx="438">
                  <c:v>0.43639370225451829</c:v>
                </c:pt>
                <c:pt idx="439">
                  <c:v>0.36808611871059832</c:v>
                </c:pt>
                <c:pt idx="440">
                  <c:v>0.33932374866879667</c:v>
                </c:pt>
                <c:pt idx="441">
                  <c:v>0.32913138434422773</c:v>
                </c:pt>
                <c:pt idx="442">
                  <c:v>0.32497668132412005</c:v>
                </c:pt>
                <c:pt idx="443">
                  <c:v>0.34602642628760738</c:v>
                </c:pt>
                <c:pt idx="444">
                  <c:v>0.37623409063875346</c:v>
                </c:pt>
                <c:pt idx="445">
                  <c:v>0.38109385281040015</c:v>
                </c:pt>
                <c:pt idx="446">
                  <c:v>0.39434839341053657</c:v>
                </c:pt>
                <c:pt idx="447">
                  <c:v>0.39265448649996876</c:v>
                </c:pt>
                <c:pt idx="448">
                  <c:v>0.36449989937613203</c:v>
                </c:pt>
                <c:pt idx="449">
                  <c:v>0.32185454545454545</c:v>
                </c:pt>
                <c:pt idx="450">
                  <c:v>0.34111611941987441</c:v>
                </c:pt>
                <c:pt idx="451">
                  <c:v>0.35767976173592397</c:v>
                </c:pt>
                <c:pt idx="452">
                  <c:v>0.37013411129495771</c:v>
                </c:pt>
                <c:pt idx="453">
                  <c:v>0.39254483647872468</c:v>
                </c:pt>
                <c:pt idx="454">
                  <c:v>0.44796461542417776</c:v>
                </c:pt>
                <c:pt idx="455">
                  <c:v>0.47789009996046761</c:v>
                </c:pt>
                <c:pt idx="456">
                  <c:v>0.53396401520821479</c:v>
                </c:pt>
                <c:pt idx="457">
                  <c:v>0.59331519386556186</c:v>
                </c:pt>
                <c:pt idx="458">
                  <c:v>0.62193079475430557</c:v>
                </c:pt>
                <c:pt idx="459">
                  <c:v>0.62913907284768211</c:v>
                </c:pt>
                <c:pt idx="460">
                  <c:v>0.59272086335384522</c:v>
                </c:pt>
                <c:pt idx="461">
                  <c:v>0.53166264783557238</c:v>
                </c:pt>
                <c:pt idx="462">
                  <c:v>0.44949312528594482</c:v>
                </c:pt>
                <c:pt idx="463">
                  <c:v>0.39616808363503231</c:v>
                </c:pt>
                <c:pt idx="464">
                  <c:v>0.39062133645955455</c:v>
                </c:pt>
                <c:pt idx="465">
                  <c:v>0.37712039312039308</c:v>
                </c:pt>
                <c:pt idx="466">
                  <c:v>0.37715483466541294</c:v>
                </c:pt>
                <c:pt idx="467">
                  <c:v>0.40204927054773965</c:v>
                </c:pt>
                <c:pt idx="468">
                  <c:v>0.4283364563814282</c:v>
                </c:pt>
                <c:pt idx="469">
                  <c:v>0.42860207211651902</c:v>
                </c:pt>
                <c:pt idx="470">
                  <c:v>0.43481861110489445</c:v>
                </c:pt>
                <c:pt idx="471">
                  <c:v>0.43633642486224178</c:v>
                </c:pt>
                <c:pt idx="472">
                  <c:v>0.41074362300043232</c:v>
                </c:pt>
                <c:pt idx="473">
                  <c:v>0.3657164143988707</c:v>
                </c:pt>
                <c:pt idx="474">
                  <c:v>0.38086733158074287</c:v>
                </c:pt>
                <c:pt idx="475">
                  <c:v>0.38347966627353336</c:v>
                </c:pt>
                <c:pt idx="476">
                  <c:v>0.41169499158548439</c:v>
                </c:pt>
                <c:pt idx="477">
                  <c:v>0.43489209538918683</c:v>
                </c:pt>
                <c:pt idx="478">
                  <c:v>0.42736244423414904</c:v>
                </c:pt>
                <c:pt idx="479">
                  <c:v>0.45416497122594895</c:v>
                </c:pt>
                <c:pt idx="480">
                  <c:v>0.42906660064372365</c:v>
                </c:pt>
                <c:pt idx="481">
                  <c:v>0.3924145091168646</c:v>
                </c:pt>
                <c:pt idx="482">
                  <c:v>0.35718313596709456</c:v>
                </c:pt>
                <c:pt idx="483">
                  <c:v>0.3116187158790234</c:v>
                </c:pt>
                <c:pt idx="484">
                  <c:v>0.25829614468342116</c:v>
                </c:pt>
                <c:pt idx="485">
                  <c:v>0.21671907756813416</c:v>
                </c:pt>
                <c:pt idx="486">
                  <c:v>0.20171819189555365</c:v>
                </c:pt>
                <c:pt idx="487">
                  <c:v>0.16449465853794956</c:v>
                </c:pt>
                <c:pt idx="488">
                  <c:v>0.14218204232586809</c:v>
                </c:pt>
                <c:pt idx="489">
                  <c:v>0.11864447953358435</c:v>
                </c:pt>
                <c:pt idx="490">
                  <c:v>9.7311500023459854E-2</c:v>
                </c:pt>
                <c:pt idx="491">
                  <c:v>6.8309412510864184E-2</c:v>
                </c:pt>
                <c:pt idx="492">
                  <c:v>6.3676872215035221E-2</c:v>
                </c:pt>
                <c:pt idx="493">
                  <c:v>5.7466473804211923E-2</c:v>
                </c:pt>
                <c:pt idx="494">
                  <c:v>5.5418688565385101E-2</c:v>
                </c:pt>
                <c:pt idx="495">
                  <c:v>4.2477788989245195E-2</c:v>
                </c:pt>
                <c:pt idx="496">
                  <c:v>3.1545961002785512E-2</c:v>
                </c:pt>
                <c:pt idx="497">
                  <c:v>2.7716949258587247E-2</c:v>
                </c:pt>
                <c:pt idx="498">
                  <c:v>2.2894381444403953E-2</c:v>
                </c:pt>
                <c:pt idx="499">
                  <c:v>1.7796333442179409E-2</c:v>
                </c:pt>
                <c:pt idx="500">
                  <c:v>1.7847267608466142E-2</c:v>
                </c:pt>
                <c:pt idx="501">
                  <c:v>2.1170244045868859E-2</c:v>
                </c:pt>
                <c:pt idx="502">
                  <c:v>2.3995218034840032E-2</c:v>
                </c:pt>
                <c:pt idx="503">
                  <c:v>2.9807254515100925E-2</c:v>
                </c:pt>
                <c:pt idx="504">
                  <c:v>2.8784613900234776E-2</c:v>
                </c:pt>
                <c:pt idx="505">
                  <c:v>3.0018192844147969E-2</c:v>
                </c:pt>
                <c:pt idx="506">
                  <c:v>2.818555490311216E-2</c:v>
                </c:pt>
                <c:pt idx="507">
                  <c:v>2.5678650036683785E-2</c:v>
                </c:pt>
                <c:pt idx="508">
                  <c:v>2.7469661671129037E-2</c:v>
                </c:pt>
                <c:pt idx="509">
                  <c:v>2.7801351030245426E-2</c:v>
                </c:pt>
                <c:pt idx="510">
                  <c:v>3.4534921145799813E-2</c:v>
                </c:pt>
                <c:pt idx="511">
                  <c:v>4.4441163443082826E-2</c:v>
                </c:pt>
                <c:pt idx="512">
                  <c:v>5.291361482119776E-2</c:v>
                </c:pt>
                <c:pt idx="513">
                  <c:v>5.847511027095148E-2</c:v>
                </c:pt>
                <c:pt idx="514">
                  <c:v>6.1372367845158773E-2</c:v>
                </c:pt>
                <c:pt idx="515">
                  <c:v>6.4668391796051355E-2</c:v>
                </c:pt>
                <c:pt idx="516">
                  <c:v>5.6019242333132893E-2</c:v>
                </c:pt>
                <c:pt idx="517">
                  <c:v>5.1093299755430178E-2</c:v>
                </c:pt>
                <c:pt idx="518">
                  <c:v>4.4404542366301078E-2</c:v>
                </c:pt>
                <c:pt idx="519">
                  <c:v>5.1185628742514977E-2</c:v>
                </c:pt>
                <c:pt idx="520">
                  <c:v>4.7778460977887086E-2</c:v>
                </c:pt>
                <c:pt idx="521">
                  <c:v>4.3467517759703492E-2</c:v>
                </c:pt>
                <c:pt idx="522">
                  <c:v>4.7791273806786105E-2</c:v>
                </c:pt>
                <c:pt idx="523">
                  <c:v>5.8617279510923319E-2</c:v>
                </c:pt>
                <c:pt idx="524">
                  <c:v>7.9327739244312939E-2</c:v>
                </c:pt>
                <c:pt idx="525">
                  <c:v>8.8969258589511754E-2</c:v>
                </c:pt>
                <c:pt idx="526">
                  <c:v>9.476246432768172E-2</c:v>
                </c:pt>
                <c:pt idx="527">
                  <c:v>9.5143107564904655E-2</c:v>
                </c:pt>
                <c:pt idx="528">
                  <c:v>8.9792932345176366E-2</c:v>
                </c:pt>
                <c:pt idx="529">
                  <c:v>8.9831565814098555E-2</c:v>
                </c:pt>
                <c:pt idx="530">
                  <c:v>9.8091110596486591E-2</c:v>
                </c:pt>
                <c:pt idx="531">
                  <c:v>0.1143233454066513</c:v>
                </c:pt>
                <c:pt idx="532">
                  <c:v>0.11928601132401394</c:v>
                </c:pt>
                <c:pt idx="533">
                  <c:v>8.8311079878191603E-2</c:v>
                </c:pt>
                <c:pt idx="534">
                  <c:v>0.10165708324235147</c:v>
                </c:pt>
                <c:pt idx="535">
                  <c:v>0.10974572839906063</c:v>
                </c:pt>
                <c:pt idx="536">
                  <c:v>0.12183141998613144</c:v>
                </c:pt>
                <c:pt idx="537">
                  <c:v>0.11930198739699466</c:v>
                </c:pt>
                <c:pt idx="538">
                  <c:v>0.11087567900758949</c:v>
                </c:pt>
                <c:pt idx="539">
                  <c:v>9.9327812956648803E-2</c:v>
                </c:pt>
                <c:pt idx="540">
                  <c:v>0.12200112332504214</c:v>
                </c:pt>
                <c:pt idx="541">
                  <c:v>0.14557675279723095</c:v>
                </c:pt>
                <c:pt idx="542">
                  <c:v>0.14083523345863888</c:v>
                </c:pt>
                <c:pt idx="543">
                  <c:v>0.13674140132722057</c:v>
                </c:pt>
                <c:pt idx="544">
                  <c:v>0.13530805207426452</c:v>
                </c:pt>
                <c:pt idx="545">
                  <c:v>0.14067522655866915</c:v>
                </c:pt>
                <c:pt idx="546">
                  <c:v>0.1457776439140093</c:v>
                </c:pt>
                <c:pt idx="547">
                  <c:v>0.15743169619435815</c:v>
                </c:pt>
                <c:pt idx="548">
                  <c:v>0.17618242130005929</c:v>
                </c:pt>
                <c:pt idx="549">
                  <c:v>0.19179400511701056</c:v>
                </c:pt>
                <c:pt idx="550">
                  <c:v>0.20355387136419498</c:v>
                </c:pt>
                <c:pt idx="551">
                  <c:v>0.2076427771556551</c:v>
                </c:pt>
                <c:pt idx="552">
                  <c:v>0.20704426463588768</c:v>
                </c:pt>
                <c:pt idx="553">
                  <c:v>0.20717339813590085</c:v>
                </c:pt>
                <c:pt idx="554">
                  <c:v>0.20395766798171455</c:v>
                </c:pt>
                <c:pt idx="555">
                  <c:v>0.20153490983964559</c:v>
                </c:pt>
                <c:pt idx="556">
                  <c:v>0.19248001937515141</c:v>
                </c:pt>
                <c:pt idx="557">
                  <c:v>0.18204941860465115</c:v>
                </c:pt>
                <c:pt idx="558">
                  <c:v>0.15169730434985201</c:v>
                </c:pt>
                <c:pt idx="559">
                  <c:v>0.12823250296559904</c:v>
                </c:pt>
                <c:pt idx="560">
                  <c:v>0.11682020178901793</c:v>
                </c:pt>
                <c:pt idx="561">
                  <c:v>0.11947369430538773</c:v>
                </c:pt>
                <c:pt idx="562">
                  <c:v>0.12372057562184313</c:v>
                </c:pt>
                <c:pt idx="563">
                  <c:v>0.12745887495686184</c:v>
                </c:pt>
                <c:pt idx="564">
                  <c:v>0.13874731891615341</c:v>
                </c:pt>
                <c:pt idx="565">
                  <c:v>0.14223194748358861</c:v>
                </c:pt>
                <c:pt idx="566">
                  <c:v>0.15799988013664423</c:v>
                </c:pt>
                <c:pt idx="567">
                  <c:v>0.16931899641577061</c:v>
                </c:pt>
                <c:pt idx="568">
                  <c:v>0.15943847072879333</c:v>
                </c:pt>
                <c:pt idx="569">
                  <c:v>0.15342858699006917</c:v>
                </c:pt>
                <c:pt idx="570">
                  <c:v>0.18955684810822074</c:v>
                </c:pt>
                <c:pt idx="571">
                  <c:v>0.23818869756995731</c:v>
                </c:pt>
                <c:pt idx="572">
                  <c:v>0.2678528701629217</c:v>
                </c:pt>
                <c:pt idx="573">
                  <c:v>0.30089992715994268</c:v>
                </c:pt>
                <c:pt idx="574">
                  <c:v>0.34542185694105559</c:v>
                </c:pt>
                <c:pt idx="575">
                  <c:v>0.39636947881726192</c:v>
                </c:pt>
                <c:pt idx="576">
                  <c:v>0.46736519755013811</c:v>
                </c:pt>
                <c:pt idx="577">
                  <c:v>0.46777152451727244</c:v>
                </c:pt>
                <c:pt idx="578">
                  <c:v>0.45321646679112737</c:v>
                </c:pt>
                <c:pt idx="579">
                  <c:v>0.44808503986243553</c:v>
                </c:pt>
                <c:pt idx="580">
                  <c:v>0.44802040320621811</c:v>
                </c:pt>
                <c:pt idx="581">
                  <c:v>0.39443337729019945</c:v>
                </c:pt>
                <c:pt idx="582">
                  <c:v>0.31726001644930091</c:v>
                </c:pt>
                <c:pt idx="583">
                  <c:v>0.26387924707935817</c:v>
                </c:pt>
                <c:pt idx="584">
                  <c:v>0.24287585670077647</c:v>
                </c:pt>
                <c:pt idx="585">
                  <c:v>0.22436385799177208</c:v>
                </c:pt>
                <c:pt idx="586">
                  <c:v>0.21131509928812289</c:v>
                </c:pt>
                <c:pt idx="587">
                  <c:v>0.20779073717585775</c:v>
                </c:pt>
                <c:pt idx="588">
                  <c:v>0.20034292759989208</c:v>
                </c:pt>
                <c:pt idx="589">
                  <c:v>0.19350116532157097</c:v>
                </c:pt>
                <c:pt idx="590">
                  <c:v>0.18451381021213425</c:v>
                </c:pt>
                <c:pt idx="591">
                  <c:v>0.16990155832768722</c:v>
                </c:pt>
                <c:pt idx="592">
                  <c:v>0.15213271974941026</c:v>
                </c:pt>
                <c:pt idx="593">
                  <c:v>0.1337141027009715</c:v>
                </c:pt>
                <c:pt idx="594">
                  <c:v>0.13726541554959787</c:v>
                </c:pt>
                <c:pt idx="595">
                  <c:v>0.14572874293084631</c:v>
                </c:pt>
                <c:pt idx="596">
                  <c:v>0.16278920583329767</c:v>
                </c:pt>
                <c:pt idx="597">
                  <c:v>0.18901103966443109</c:v>
                </c:pt>
                <c:pt idx="598">
                  <c:v>0.20750352041842687</c:v>
                </c:pt>
                <c:pt idx="599">
                  <c:v>0.21904289337302901</c:v>
                </c:pt>
                <c:pt idx="600">
                  <c:v>0.2341541599883433</c:v>
                </c:pt>
                <c:pt idx="601">
                  <c:v>0.25528200806597245</c:v>
                </c:pt>
                <c:pt idx="602">
                  <c:v>0.2706232535536387</c:v>
                </c:pt>
                <c:pt idx="603">
                  <c:v>0.25729745979257479</c:v>
                </c:pt>
                <c:pt idx="604">
                  <c:v>0.19268099580682052</c:v>
                </c:pt>
                <c:pt idx="605">
                  <c:v>0.14056861673045382</c:v>
                </c:pt>
                <c:pt idx="606">
                  <c:v>9.6615909143265219E-2</c:v>
                </c:pt>
                <c:pt idx="607">
                  <c:v>7.0301542776998585E-2</c:v>
                </c:pt>
                <c:pt idx="608">
                  <c:v>5.8772914328469893E-2</c:v>
                </c:pt>
                <c:pt idx="609">
                  <c:v>5.5204722196196016E-2</c:v>
                </c:pt>
                <c:pt idx="610">
                  <c:v>5.7581716321003229E-2</c:v>
                </c:pt>
                <c:pt idx="611">
                  <c:v>7.7804708490690114E-2</c:v>
                </c:pt>
                <c:pt idx="612">
                  <c:v>8.6010282577602543E-2</c:v>
                </c:pt>
                <c:pt idx="613">
                  <c:v>9.4419101232650682E-2</c:v>
                </c:pt>
                <c:pt idx="614">
                  <c:v>0.10289110625651925</c:v>
                </c:pt>
                <c:pt idx="615">
                  <c:v>0.10481369587109768</c:v>
                </c:pt>
                <c:pt idx="616">
                  <c:v>0.12080338682681895</c:v>
                </c:pt>
                <c:pt idx="617">
                  <c:v>0.13351947308132875</c:v>
                </c:pt>
                <c:pt idx="618">
                  <c:v>0.15369751021924935</c:v>
                </c:pt>
                <c:pt idx="619">
                  <c:v>0.17584091808468541</c:v>
                </c:pt>
                <c:pt idx="620">
                  <c:v>0.20880660707840595</c:v>
                </c:pt>
                <c:pt idx="621">
                  <c:v>0.24106107789875661</c:v>
                </c:pt>
                <c:pt idx="622">
                  <c:v>0.26977924889873323</c:v>
                </c:pt>
                <c:pt idx="623">
                  <c:v>0.28777390166793848</c:v>
                </c:pt>
                <c:pt idx="624">
                  <c:v>0.28254831616711035</c:v>
                </c:pt>
                <c:pt idx="625">
                  <c:v>0.27790051949602917</c:v>
                </c:pt>
                <c:pt idx="626">
                  <c:v>0.29109163153265194</c:v>
                </c:pt>
                <c:pt idx="627">
                  <c:v>0.32736835741490844</c:v>
                </c:pt>
                <c:pt idx="628">
                  <c:v>0.36383961403818432</c:v>
                </c:pt>
                <c:pt idx="629">
                  <c:v>0.36994282602777029</c:v>
                </c:pt>
                <c:pt idx="630">
                  <c:v>0.36263155475895031</c:v>
                </c:pt>
                <c:pt idx="631">
                  <c:v>0.3461327482172244</c:v>
                </c:pt>
                <c:pt idx="632">
                  <c:v>0.36816053002322657</c:v>
                </c:pt>
                <c:pt idx="633">
                  <c:v>0.38247218646119552</c:v>
                </c:pt>
                <c:pt idx="634">
                  <c:v>0.38122546378261879</c:v>
                </c:pt>
                <c:pt idx="635">
                  <c:v>0.36971191791633784</c:v>
                </c:pt>
                <c:pt idx="636">
                  <c:v>0.37655747173859228</c:v>
                </c:pt>
                <c:pt idx="637">
                  <c:v>0.37221040874626804</c:v>
                </c:pt>
                <c:pt idx="638">
                  <c:v>0.35058886153436686</c:v>
                </c:pt>
                <c:pt idx="639">
                  <c:v>0.32392560775406487</c:v>
                </c:pt>
                <c:pt idx="640">
                  <c:v>0.28825454232325842</c:v>
                </c:pt>
                <c:pt idx="641">
                  <c:v>0.24200992269528096</c:v>
                </c:pt>
                <c:pt idx="642">
                  <c:v>0.23218390804597702</c:v>
                </c:pt>
                <c:pt idx="643">
                  <c:v>0.21837959330802995</c:v>
                </c:pt>
                <c:pt idx="644">
                  <c:v>0.18856408609058786</c:v>
                </c:pt>
                <c:pt idx="645">
                  <c:v>0.16610210795662239</c:v>
                </c:pt>
                <c:pt idx="646">
                  <c:v>0.13490050466752085</c:v>
                </c:pt>
                <c:pt idx="647">
                  <c:v>0.12484191000815044</c:v>
                </c:pt>
                <c:pt idx="648">
                  <c:v>0.12219503461446647</c:v>
                </c:pt>
                <c:pt idx="649">
                  <c:v>0.12694711314243073</c:v>
                </c:pt>
                <c:pt idx="650">
                  <c:v>0.13735721785612015</c:v>
                </c:pt>
                <c:pt idx="651">
                  <c:v>0.1530342166523167</c:v>
                </c:pt>
                <c:pt idx="652">
                  <c:v>0.19681373325309601</c:v>
                </c:pt>
                <c:pt idx="653">
                  <c:v>0.22778580875342169</c:v>
                </c:pt>
                <c:pt idx="654">
                  <c:v>0.24683727948003714</c:v>
                </c:pt>
                <c:pt idx="655">
                  <c:v>0.27946296687064781</c:v>
                </c:pt>
                <c:pt idx="656">
                  <c:v>0.28720549496541026</c:v>
                </c:pt>
                <c:pt idx="657">
                  <c:v>0.27551834130781494</c:v>
                </c:pt>
                <c:pt idx="658">
                  <c:v>0.25880929106735556</c:v>
                </c:pt>
                <c:pt idx="659">
                  <c:v>0.23482310452158625</c:v>
                </c:pt>
                <c:pt idx="660">
                  <c:v>0.20974441675218686</c:v>
                </c:pt>
                <c:pt idx="661">
                  <c:v>0.1964352955943266</c:v>
                </c:pt>
                <c:pt idx="662">
                  <c:v>0.21693418735805242</c:v>
                </c:pt>
                <c:pt idx="663">
                  <c:v>0.25838977440545907</c:v>
                </c:pt>
                <c:pt idx="664">
                  <c:v>0.2908219506350348</c:v>
                </c:pt>
                <c:pt idx="665">
                  <c:v>0.28668529252324759</c:v>
                </c:pt>
                <c:pt idx="666">
                  <c:v>0.31928779622354581</c:v>
                </c:pt>
                <c:pt idx="667">
                  <c:v>0.37268698314067716</c:v>
                </c:pt>
                <c:pt idx="668">
                  <c:v>0.39869328847607205</c:v>
                </c:pt>
                <c:pt idx="669">
                  <c:v>0.38528160845469778</c:v>
                </c:pt>
                <c:pt idx="670">
                  <c:v>0.33373530298462467</c:v>
                </c:pt>
                <c:pt idx="671">
                  <c:v>0.31991822429906547</c:v>
                </c:pt>
                <c:pt idx="672">
                  <c:v>0.28452336680302465</c:v>
                </c:pt>
                <c:pt idx="673">
                  <c:v>0.2534419235989917</c:v>
                </c:pt>
                <c:pt idx="674">
                  <c:v>0.25979163919293158</c:v>
                </c:pt>
                <c:pt idx="675">
                  <c:v>0.25897512536946632</c:v>
                </c:pt>
                <c:pt idx="676">
                  <c:v>0.30604550521277296</c:v>
                </c:pt>
                <c:pt idx="677">
                  <c:v>0.35096911060396641</c:v>
                </c:pt>
                <c:pt idx="678">
                  <c:v>0.39681666819417716</c:v>
                </c:pt>
                <c:pt idx="679">
                  <c:v>0.41368611079769824</c:v>
                </c:pt>
                <c:pt idx="680">
                  <c:v>0.47736358444525212</c:v>
                </c:pt>
                <c:pt idx="681">
                  <c:v>0.48822636706320061</c:v>
                </c:pt>
                <c:pt idx="682">
                  <c:v>0.48080212887283785</c:v>
                </c:pt>
                <c:pt idx="683">
                  <c:v>0.4781227946365561</c:v>
                </c:pt>
                <c:pt idx="684">
                  <c:v>0.47491662696522152</c:v>
                </c:pt>
                <c:pt idx="685">
                  <c:v>0.46611103127844039</c:v>
                </c:pt>
                <c:pt idx="686">
                  <c:v>0.43961002919954639</c:v>
                </c:pt>
                <c:pt idx="687">
                  <c:v>0.41789823328358927</c:v>
                </c:pt>
                <c:pt idx="688">
                  <c:v>0.40826903144074628</c:v>
                </c:pt>
                <c:pt idx="689">
                  <c:v>0.3419972358025456</c:v>
                </c:pt>
                <c:pt idx="690">
                  <c:v>0.35931782815325741</c:v>
                </c:pt>
                <c:pt idx="691">
                  <c:v>0.34698459742242582</c:v>
                </c:pt>
                <c:pt idx="692">
                  <c:v>0.36798958383565611</c:v>
                </c:pt>
                <c:pt idx="693">
                  <c:v>0.38350866336633666</c:v>
                </c:pt>
                <c:pt idx="694">
                  <c:v>0.41642924976258316</c:v>
                </c:pt>
                <c:pt idx="695">
                  <c:v>0.42889887504900925</c:v>
                </c:pt>
                <c:pt idx="696">
                  <c:v>0.41784288453679547</c:v>
                </c:pt>
                <c:pt idx="697">
                  <c:v>0.37146363518925202</c:v>
                </c:pt>
                <c:pt idx="698">
                  <c:v>0.30768980017602771</c:v>
                </c:pt>
                <c:pt idx="699">
                  <c:v>0.26156908817962277</c:v>
                </c:pt>
                <c:pt idx="700">
                  <c:v>0.24521485612878693</c:v>
                </c:pt>
                <c:pt idx="701">
                  <c:v>0.18972401130766764</c:v>
                </c:pt>
                <c:pt idx="702">
                  <c:v>0.10444930006963288</c:v>
                </c:pt>
                <c:pt idx="703">
                  <c:v>6.4130281049845431E-2</c:v>
                </c:pt>
                <c:pt idx="704">
                  <c:v>5.9895883730381433E-2</c:v>
                </c:pt>
                <c:pt idx="705">
                  <c:v>5.4623314214850407E-2</c:v>
                </c:pt>
                <c:pt idx="706">
                  <c:v>5.7081684540536408E-2</c:v>
                </c:pt>
                <c:pt idx="707">
                  <c:v>6.9906649985564437E-2</c:v>
                </c:pt>
                <c:pt idx="708">
                  <c:v>8.4983514446807254E-2</c:v>
                </c:pt>
                <c:pt idx="709">
                  <c:v>0.10436305669808905</c:v>
                </c:pt>
                <c:pt idx="710">
                  <c:v>0.13312514917654544</c:v>
                </c:pt>
                <c:pt idx="711">
                  <c:v>0.16368177387914229</c:v>
                </c:pt>
                <c:pt idx="712">
                  <c:v>0.19177317408729286</c:v>
                </c:pt>
                <c:pt idx="713">
                  <c:v>0.22203309173438754</c:v>
                </c:pt>
                <c:pt idx="714">
                  <c:v>0.26074380165289252</c:v>
                </c:pt>
                <c:pt idx="715">
                  <c:v>0.30207774132617554</c:v>
                </c:pt>
                <c:pt idx="716">
                  <c:v>0.31996490251888626</c:v>
                </c:pt>
                <c:pt idx="717">
                  <c:v>0.35195786581177008</c:v>
                </c:pt>
                <c:pt idx="718">
                  <c:v>0.39901662257275494</c:v>
                </c:pt>
                <c:pt idx="719">
                  <c:v>0.44821699544764798</c:v>
                </c:pt>
                <c:pt idx="720">
                  <c:v>0.4955728626847109</c:v>
                </c:pt>
                <c:pt idx="721">
                  <c:v>0.5300340241261986</c:v>
                </c:pt>
                <c:pt idx="722">
                  <c:v>0.54269211451531896</c:v>
                </c:pt>
                <c:pt idx="723">
                  <c:v>0.53465811297136601</c:v>
                </c:pt>
                <c:pt idx="724">
                  <c:v>0.48282367260003051</c:v>
                </c:pt>
                <c:pt idx="725">
                  <c:v>0.44217005040799845</c:v>
                </c:pt>
                <c:pt idx="726">
                  <c:v>0.35974513968305838</c:v>
                </c:pt>
                <c:pt idx="727">
                  <c:v>0.3182604201864403</c:v>
                </c:pt>
                <c:pt idx="728">
                  <c:v>0.2878921193573068</c:v>
                </c:pt>
                <c:pt idx="729">
                  <c:v>0.27129258996801564</c:v>
                </c:pt>
                <c:pt idx="730">
                  <c:v>0.23693945341990039</c:v>
                </c:pt>
                <c:pt idx="731">
                  <c:v>0.22184912427977257</c:v>
                </c:pt>
                <c:pt idx="732">
                  <c:v>0.19896042206085615</c:v>
                </c:pt>
                <c:pt idx="733">
                  <c:v>0.18538866160140266</c:v>
                </c:pt>
                <c:pt idx="734">
                  <c:v>0.17666759145495622</c:v>
                </c:pt>
                <c:pt idx="735">
                  <c:v>0.17159164507772018</c:v>
                </c:pt>
                <c:pt idx="736">
                  <c:v>0.15887536552596224</c:v>
                </c:pt>
                <c:pt idx="737">
                  <c:v>0.13205705298551981</c:v>
                </c:pt>
                <c:pt idx="738">
                  <c:v>0.12380345802970985</c:v>
                </c:pt>
                <c:pt idx="739">
                  <c:v>0.13728153400579246</c:v>
                </c:pt>
                <c:pt idx="740">
                  <c:v>0.17288776255315494</c:v>
                </c:pt>
                <c:pt idx="741">
                  <c:v>0.20415433012583273</c:v>
                </c:pt>
                <c:pt idx="742">
                  <c:v>0.22641892577926692</c:v>
                </c:pt>
                <c:pt idx="743">
                  <c:v>0.22709864981969644</c:v>
                </c:pt>
                <c:pt idx="744">
                  <c:v>0.20608168360977352</c:v>
                </c:pt>
                <c:pt idx="745">
                  <c:v>0.19342986816511781</c:v>
                </c:pt>
                <c:pt idx="746">
                  <c:v>0.19827775168310632</c:v>
                </c:pt>
                <c:pt idx="747">
                  <c:v>0.21009893597162591</c:v>
                </c:pt>
                <c:pt idx="748">
                  <c:v>0.20332139170562877</c:v>
                </c:pt>
                <c:pt idx="749">
                  <c:v>0.20576703834496565</c:v>
                </c:pt>
                <c:pt idx="750">
                  <c:v>0.2017494620638039</c:v>
                </c:pt>
                <c:pt idx="751">
                  <c:v>0.18693220137263458</c:v>
                </c:pt>
                <c:pt idx="752">
                  <c:v>0.192147656130707</c:v>
                </c:pt>
                <c:pt idx="753">
                  <c:v>0.19937463059352897</c:v>
                </c:pt>
                <c:pt idx="754">
                  <c:v>0.22511235955056177</c:v>
                </c:pt>
                <c:pt idx="755">
                  <c:v>0.25426374080968767</c:v>
                </c:pt>
                <c:pt idx="756">
                  <c:v>0.26797808385967586</c:v>
                </c:pt>
                <c:pt idx="757">
                  <c:v>0.29138135495964196</c:v>
                </c:pt>
                <c:pt idx="758">
                  <c:v>0.31410082008628398</c:v>
                </c:pt>
                <c:pt idx="759">
                  <c:v>0.35023023102836526</c:v>
                </c:pt>
                <c:pt idx="760">
                  <c:v>0.393335299321734</c:v>
                </c:pt>
                <c:pt idx="761">
                  <c:v>0.38739176612482223</c:v>
                </c:pt>
                <c:pt idx="762">
                  <c:v>0.42099173245245686</c:v>
                </c:pt>
                <c:pt idx="763">
                  <c:v>0.49527777777777782</c:v>
                </c:pt>
                <c:pt idx="764">
                  <c:v>0.56216537775133857</c:v>
                </c:pt>
                <c:pt idx="765">
                  <c:v>0.63494522014440935</c:v>
                </c:pt>
                <c:pt idx="766">
                  <c:v>0.67512891709639045</c:v>
                </c:pt>
                <c:pt idx="767">
                  <c:v>0.72074244682292377</c:v>
                </c:pt>
                <c:pt idx="768">
                  <c:v>0.76184981103770599</c:v>
                </c:pt>
                <c:pt idx="769">
                  <c:v>0.77413495324876425</c:v>
                </c:pt>
                <c:pt idx="770">
                  <c:v>0.75630277533972934</c:v>
                </c:pt>
                <c:pt idx="771">
                  <c:v>0.77590042691359518</c:v>
                </c:pt>
                <c:pt idx="772">
                  <c:v>0.74624901289813106</c:v>
                </c:pt>
                <c:pt idx="773">
                  <c:v>0.69593823065629934</c:v>
                </c:pt>
                <c:pt idx="774">
                  <c:v>0.575488413834365</c:v>
                </c:pt>
                <c:pt idx="775">
                  <c:v>0.48436797340893539</c:v>
                </c:pt>
                <c:pt idx="776">
                  <c:v>0.42807361223605644</c:v>
                </c:pt>
                <c:pt idx="777">
                  <c:v>0.408461827754795</c:v>
                </c:pt>
                <c:pt idx="778">
                  <c:v>0.38158186658778287</c:v>
                </c:pt>
                <c:pt idx="779">
                  <c:v>0.34955990993505648</c:v>
                </c:pt>
                <c:pt idx="780">
                  <c:v>0.33615475330011035</c:v>
                </c:pt>
                <c:pt idx="781">
                  <c:v>0.3095188184849928</c:v>
                </c:pt>
                <c:pt idx="782">
                  <c:v>0.29531243931803181</c:v>
                </c:pt>
                <c:pt idx="783">
                  <c:v>0.31406439793703578</c:v>
                </c:pt>
                <c:pt idx="784">
                  <c:v>0.32803857888003152</c:v>
                </c:pt>
                <c:pt idx="785">
                  <c:v>0.31638326585695009</c:v>
                </c:pt>
                <c:pt idx="786">
                  <c:v>0.33910292201749487</c:v>
                </c:pt>
                <c:pt idx="787">
                  <c:v>0.38836010311322627</c:v>
                </c:pt>
                <c:pt idx="788">
                  <c:v>0.43357147399885515</c:v>
                </c:pt>
                <c:pt idx="789">
                  <c:v>0.45573925578880975</c:v>
                </c:pt>
                <c:pt idx="790">
                  <c:v>0.41965615910327053</c:v>
                </c:pt>
                <c:pt idx="791">
                  <c:v>0.50535496527225499</c:v>
                </c:pt>
                <c:pt idx="792">
                  <c:v>0.52010589382750461</c:v>
                </c:pt>
                <c:pt idx="793">
                  <c:v>0.54954175000746341</c:v>
                </c:pt>
                <c:pt idx="794">
                  <c:v>0.56699684005833739</c:v>
                </c:pt>
                <c:pt idx="795">
                  <c:v>0.59336175395858703</c:v>
                </c:pt>
                <c:pt idx="796">
                  <c:v>0.6515466365849315</c:v>
                </c:pt>
                <c:pt idx="797">
                  <c:v>0.6237615565061404</c:v>
                </c:pt>
                <c:pt idx="798">
                  <c:v>0.52269083304287212</c:v>
                </c:pt>
                <c:pt idx="799">
                  <c:v>0.42502872083349841</c:v>
                </c:pt>
                <c:pt idx="800">
                  <c:v>0.39478244311149202</c:v>
                </c:pt>
                <c:pt idx="801">
                  <c:v>0.35938720679865088</c:v>
                </c:pt>
                <c:pt idx="802">
                  <c:v>0.34245113457649962</c:v>
                </c:pt>
                <c:pt idx="803">
                  <c:v>0.33180604729537838</c:v>
                </c:pt>
                <c:pt idx="804">
                  <c:v>0.30547058823529416</c:v>
                </c:pt>
                <c:pt idx="805">
                  <c:v>0.29065459861030457</c:v>
                </c:pt>
                <c:pt idx="806">
                  <c:v>0.28109060750570186</c:v>
                </c:pt>
                <c:pt idx="807">
                  <c:v>0.28380252100840331</c:v>
                </c:pt>
                <c:pt idx="808">
                  <c:v>0.25877112323504775</c:v>
                </c:pt>
                <c:pt idx="809">
                  <c:v>0.23648546621366556</c:v>
                </c:pt>
                <c:pt idx="810">
                  <c:v>0.2687457627118644</c:v>
                </c:pt>
                <c:pt idx="811">
                  <c:v>0.30821296784396418</c:v>
                </c:pt>
                <c:pt idx="812">
                  <c:v>0.36053935692059469</c:v>
                </c:pt>
                <c:pt idx="813">
                  <c:v>0.40339655932951035</c:v>
                </c:pt>
                <c:pt idx="814">
                  <c:v>0.43496588244592566</c:v>
                </c:pt>
                <c:pt idx="815">
                  <c:v>0.48402669317052394</c:v>
                </c:pt>
                <c:pt idx="816">
                  <c:v>0.54945121765832594</c:v>
                </c:pt>
                <c:pt idx="817">
                  <c:v>0.60721760639309952</c:v>
                </c:pt>
                <c:pt idx="818">
                  <c:v>0.65191434133679427</c:v>
                </c:pt>
                <c:pt idx="819">
                  <c:v>0.6519041086942321</c:v>
                </c:pt>
                <c:pt idx="820">
                  <c:v>0.6492927979190376</c:v>
                </c:pt>
                <c:pt idx="821">
                  <c:v>0.63105782614197137</c:v>
                </c:pt>
                <c:pt idx="822">
                  <c:v>0.56543379131523264</c:v>
                </c:pt>
                <c:pt idx="823">
                  <c:v>0.46900218102508179</c:v>
                </c:pt>
                <c:pt idx="824">
                  <c:v>0.39446749654218533</c:v>
                </c:pt>
                <c:pt idx="825">
                  <c:v>0.32392963823431797</c:v>
                </c:pt>
                <c:pt idx="826">
                  <c:v>0.29766572865248886</c:v>
                </c:pt>
                <c:pt idx="827">
                  <c:v>0.25580966433050528</c:v>
                </c:pt>
                <c:pt idx="828">
                  <c:v>0.21688344928682782</c:v>
                </c:pt>
                <c:pt idx="829">
                  <c:v>0.16625094126506024</c:v>
                </c:pt>
                <c:pt idx="830">
                  <c:v>0.11856087681677389</c:v>
                </c:pt>
                <c:pt idx="831">
                  <c:v>0.10549229738780978</c:v>
                </c:pt>
                <c:pt idx="832">
                  <c:v>9.7321695875457734E-2</c:v>
                </c:pt>
                <c:pt idx="833">
                  <c:v>7.8891612313572348E-2</c:v>
                </c:pt>
                <c:pt idx="834">
                  <c:v>9.9844256429683892E-2</c:v>
                </c:pt>
                <c:pt idx="835">
                  <c:v>0.11147660818713449</c:v>
                </c:pt>
                <c:pt idx="836">
                  <c:v>9.9670047659782476E-2</c:v>
                </c:pt>
                <c:pt idx="837">
                  <c:v>8.641878873092744E-2</c:v>
                </c:pt>
                <c:pt idx="838">
                  <c:v>0.10684223685307107</c:v>
                </c:pt>
                <c:pt idx="839">
                  <c:v>0.10562099299239602</c:v>
                </c:pt>
                <c:pt idx="840">
                  <c:v>0.12027798144665114</c:v>
                </c:pt>
                <c:pt idx="841">
                  <c:v>0.14510326449033978</c:v>
                </c:pt>
                <c:pt idx="842">
                  <c:v>0.15483207676490748</c:v>
                </c:pt>
                <c:pt idx="843">
                  <c:v>0.17921171715776019</c:v>
                </c:pt>
                <c:pt idx="844">
                  <c:v>0.20032851960851417</c:v>
                </c:pt>
                <c:pt idx="845">
                  <c:v>0.23688527334203741</c:v>
                </c:pt>
                <c:pt idx="846">
                  <c:v>0.26227373769450624</c:v>
                </c:pt>
                <c:pt idx="847">
                  <c:v>0.30314303289492961</c:v>
                </c:pt>
                <c:pt idx="848">
                  <c:v>0.31723507753500502</c:v>
                </c:pt>
                <c:pt idx="849">
                  <c:v>0.31267069229034605</c:v>
                </c:pt>
                <c:pt idx="850">
                  <c:v>0.31925086059555619</c:v>
                </c:pt>
                <c:pt idx="851">
                  <c:v>0.33627248808931237</c:v>
                </c:pt>
                <c:pt idx="852">
                  <c:v>0.35808905424299153</c:v>
                </c:pt>
                <c:pt idx="853">
                  <c:v>0.37449498550311328</c:v>
                </c:pt>
                <c:pt idx="854">
                  <c:v>0.34809339266063827</c:v>
                </c:pt>
                <c:pt idx="855">
                  <c:v>0.31601524119916602</c:v>
                </c:pt>
                <c:pt idx="856">
                  <c:v>0.29531404407878109</c:v>
                </c:pt>
                <c:pt idx="857">
                  <c:v>0.29892733848430053</c:v>
                </c:pt>
                <c:pt idx="858">
                  <c:v>0.33897954112482398</c:v>
                </c:pt>
                <c:pt idx="859">
                  <c:v>0.42047709334626743</c:v>
                </c:pt>
                <c:pt idx="860">
                  <c:v>0.44872765112099139</c:v>
                </c:pt>
                <c:pt idx="861">
                  <c:v>0.47126494650723721</c:v>
                </c:pt>
                <c:pt idx="862">
                  <c:v>0.53764811149372305</c:v>
                </c:pt>
                <c:pt idx="863">
                  <c:v>0.5916770872713526</c:v>
                </c:pt>
                <c:pt idx="864">
                  <c:v>0.67325975971385776</c:v>
                </c:pt>
                <c:pt idx="865">
                  <c:v>0.69662709035366732</c:v>
                </c:pt>
                <c:pt idx="866">
                  <c:v>0.7400069847922025</c:v>
                </c:pt>
                <c:pt idx="867">
                  <c:v>0.71518807440861565</c:v>
                </c:pt>
                <c:pt idx="868">
                  <c:v>0.73147008126077318</c:v>
                </c:pt>
                <c:pt idx="869">
                  <c:v>0.63984932816101647</c:v>
                </c:pt>
                <c:pt idx="870">
                  <c:v>0.51649489387735892</c:v>
                </c:pt>
                <c:pt idx="871">
                  <c:v>0.42128580879257471</c:v>
                </c:pt>
                <c:pt idx="872">
                  <c:v>0.37589421613394214</c:v>
                </c:pt>
                <c:pt idx="873">
                  <c:v>0.32168880064435157</c:v>
                </c:pt>
                <c:pt idx="874">
                  <c:v>0.32205376244070322</c:v>
                </c:pt>
                <c:pt idx="875">
                  <c:v>0.34151891533137385</c:v>
                </c:pt>
                <c:pt idx="876">
                  <c:v>0.36026581381542411</c:v>
                </c:pt>
                <c:pt idx="877">
                  <c:v>0.38408344158325058</c:v>
                </c:pt>
                <c:pt idx="878">
                  <c:v>0.36870214395099538</c:v>
                </c:pt>
                <c:pt idx="879">
                  <c:v>0.37081268286857344</c:v>
                </c:pt>
                <c:pt idx="880">
                  <c:v>0.36368478153664069</c:v>
                </c:pt>
                <c:pt idx="881">
                  <c:v>0.35260031870201358</c:v>
                </c:pt>
                <c:pt idx="882">
                  <c:v>0.35956178985158599</c:v>
                </c:pt>
                <c:pt idx="883">
                  <c:v>0.42447342822543815</c:v>
                </c:pt>
                <c:pt idx="884">
                  <c:v>0.49144364384971689</c:v>
                </c:pt>
                <c:pt idx="885">
                  <c:v>0.55306010429054986</c:v>
                </c:pt>
                <c:pt idx="886">
                  <c:v>0.61943319838056687</c:v>
                </c:pt>
                <c:pt idx="887">
                  <c:v>0.671002132196162</c:v>
                </c:pt>
                <c:pt idx="888">
                  <c:v>0.69076371204030773</c:v>
                </c:pt>
                <c:pt idx="889">
                  <c:v>0.76530171793617452</c:v>
                </c:pt>
                <c:pt idx="890">
                  <c:v>0.77770766406608538</c:v>
                </c:pt>
                <c:pt idx="891">
                  <c:v>0.77719871542058705</c:v>
                </c:pt>
                <c:pt idx="892">
                  <c:v>0.76809812599027494</c:v>
                </c:pt>
                <c:pt idx="893">
                  <c:v>0.69170139063205993</c:v>
                </c:pt>
                <c:pt idx="894">
                  <c:v>0.60747704320893403</c:v>
                </c:pt>
                <c:pt idx="895">
                  <c:v>0.53919600817873159</c:v>
                </c:pt>
                <c:pt idx="896">
                  <c:v>0.54270598501927136</c:v>
                </c:pt>
                <c:pt idx="897">
                  <c:v>0.50703665564648714</c:v>
                </c:pt>
                <c:pt idx="898">
                  <c:v>0.54590963931356129</c:v>
                </c:pt>
                <c:pt idx="899">
                  <c:v>0.56792658322769551</c:v>
                </c:pt>
                <c:pt idx="900">
                  <c:v>0.57122685059468858</c:v>
                </c:pt>
                <c:pt idx="901">
                  <c:v>0.61184946197136614</c:v>
                </c:pt>
                <c:pt idx="902">
                  <c:v>0.6433535657308419</c:v>
                </c:pt>
                <c:pt idx="903">
                  <c:v>0.67441248849397928</c:v>
                </c:pt>
                <c:pt idx="904">
                  <c:v>0.66610505267445508</c:v>
                </c:pt>
                <c:pt idx="905">
                  <c:v>0.62181886547368781</c:v>
                </c:pt>
                <c:pt idx="906">
                  <c:v>0.64120590832741686</c:v>
                </c:pt>
                <c:pt idx="907">
                  <c:v>0.680905635310182</c:v>
                </c:pt>
                <c:pt idx="908">
                  <c:v>0.704809481829758</c:v>
                </c:pt>
                <c:pt idx="909">
                  <c:v>0.73561572777259043</c:v>
                </c:pt>
                <c:pt idx="910">
                  <c:v>0.79318309227491868</c:v>
                </c:pt>
                <c:pt idx="911">
                  <c:v>0.84115258548994676</c:v>
                </c:pt>
                <c:pt idx="912">
                  <c:v>0.88423524554205057</c:v>
                </c:pt>
                <c:pt idx="913">
                  <c:v>0.9110212335692619</c:v>
                </c:pt>
                <c:pt idx="914">
                  <c:v>0.89603786342123048</c:v>
                </c:pt>
                <c:pt idx="915">
                  <c:v>0.86011961139826265</c:v>
                </c:pt>
                <c:pt idx="916">
                  <c:v>0.79410678484752562</c:v>
                </c:pt>
                <c:pt idx="917">
                  <c:v>0.68963901765460112</c:v>
                </c:pt>
                <c:pt idx="918">
                  <c:v>0.58937330852503378</c:v>
                </c:pt>
                <c:pt idx="919">
                  <c:v>0.48579347307367571</c:v>
                </c:pt>
                <c:pt idx="920">
                  <c:v>0.47980590837733689</c:v>
                </c:pt>
                <c:pt idx="921">
                  <c:v>0.46554049258286601</c:v>
                </c:pt>
                <c:pt idx="922">
                  <c:v>0.46290634334914782</c:v>
                </c:pt>
                <c:pt idx="923">
                  <c:v>0.46838478206813255</c:v>
                </c:pt>
                <c:pt idx="924">
                  <c:v>0.49155535931118222</c:v>
                </c:pt>
                <c:pt idx="925">
                  <c:v>0.47562760740686522</c:v>
                </c:pt>
                <c:pt idx="926">
                  <c:v>0.46289648025463564</c:v>
                </c:pt>
                <c:pt idx="927">
                  <c:v>0.45264996866751489</c:v>
                </c:pt>
                <c:pt idx="928">
                  <c:v>0.45055617140017584</c:v>
                </c:pt>
                <c:pt idx="929">
                  <c:v>0.40488543770457552</c:v>
                </c:pt>
                <c:pt idx="930">
                  <c:v>0.4042666477353401</c:v>
                </c:pt>
                <c:pt idx="931">
                  <c:v>0.44944351013775247</c:v>
                </c:pt>
                <c:pt idx="932">
                  <c:v>0.4574696356275304</c:v>
                </c:pt>
                <c:pt idx="933">
                  <c:v>0.45744381109256815</c:v>
                </c:pt>
                <c:pt idx="934">
                  <c:v>0.45271146096014703</c:v>
                </c:pt>
                <c:pt idx="935">
                  <c:v>0.44192968950474726</c:v>
                </c:pt>
                <c:pt idx="936">
                  <c:v>0.4487210984631344</c:v>
                </c:pt>
                <c:pt idx="937">
                  <c:v>0.45019528505999046</c:v>
                </c:pt>
                <c:pt idx="938">
                  <c:v>0.43312265850659193</c:v>
                </c:pt>
                <c:pt idx="939">
                  <c:v>0.40558802565930147</c:v>
                </c:pt>
                <c:pt idx="940">
                  <c:v>0.37690577355661092</c:v>
                </c:pt>
                <c:pt idx="941">
                  <c:v>0.32855189494595083</c:v>
                </c:pt>
                <c:pt idx="942">
                  <c:v>0.2355281566981462</c:v>
                </c:pt>
                <c:pt idx="943">
                  <c:v>0.18462584006645022</c:v>
                </c:pt>
                <c:pt idx="944">
                  <c:v>0.17394985826307843</c:v>
                </c:pt>
                <c:pt idx="945">
                  <c:v>0.15360467037506195</c:v>
                </c:pt>
                <c:pt idx="946">
                  <c:v>0.13695715428820834</c:v>
                </c:pt>
                <c:pt idx="947">
                  <c:v>0.13528565632722309</c:v>
                </c:pt>
                <c:pt idx="948">
                  <c:v>0.11576582529403992</c:v>
                </c:pt>
                <c:pt idx="949">
                  <c:v>0.10686474635215845</c:v>
                </c:pt>
                <c:pt idx="950">
                  <c:v>0.10655910072836415</c:v>
                </c:pt>
                <c:pt idx="951">
                  <c:v>0.12512384171571767</c:v>
                </c:pt>
                <c:pt idx="952">
                  <c:v>0.13603814046105539</c:v>
                </c:pt>
                <c:pt idx="953">
                  <c:v>0.14950505513086979</c:v>
                </c:pt>
                <c:pt idx="954">
                  <c:v>0.17453006348811154</c:v>
                </c:pt>
                <c:pt idx="955">
                  <c:v>0.1784531317252091</c:v>
                </c:pt>
                <c:pt idx="956">
                  <c:v>0.19381652306132793</c:v>
                </c:pt>
                <c:pt idx="957">
                  <c:v>0.21279803571043962</c:v>
                </c:pt>
                <c:pt idx="958">
                  <c:v>0.2335257391918954</c:v>
                </c:pt>
                <c:pt idx="959">
                  <c:v>0.25894281743785064</c:v>
                </c:pt>
                <c:pt idx="960">
                  <c:v>0.29461601530472808</c:v>
                </c:pt>
                <c:pt idx="961">
                  <c:v>0.32128814310239795</c:v>
                </c:pt>
                <c:pt idx="962">
                  <c:v>0.35511371449000362</c:v>
                </c:pt>
                <c:pt idx="963">
                  <c:v>0.36772465075589816</c:v>
                </c:pt>
                <c:pt idx="964">
                  <c:v>0.40289711390174049</c:v>
                </c:pt>
                <c:pt idx="965">
                  <c:v>0.40194890567399649</c:v>
                </c:pt>
                <c:pt idx="966">
                  <c:v>0.37192800276912424</c:v>
                </c:pt>
                <c:pt idx="967">
                  <c:v>0.33362145098555029</c:v>
                </c:pt>
                <c:pt idx="968">
                  <c:v>0.33840221973982915</c:v>
                </c:pt>
                <c:pt idx="969">
                  <c:v>0.37558820878031185</c:v>
                </c:pt>
                <c:pt idx="970">
                  <c:v>0.40778154560057106</c:v>
                </c:pt>
                <c:pt idx="971">
                  <c:v>0.44407144780540353</c:v>
                </c:pt>
                <c:pt idx="972">
                  <c:v>0.48159013684386431</c:v>
                </c:pt>
                <c:pt idx="973">
                  <c:v>0.54166507469529668</c:v>
                </c:pt>
                <c:pt idx="974">
                  <c:v>0.61608247422680418</c:v>
                </c:pt>
                <c:pt idx="975">
                  <c:v>0.65340314136125655</c:v>
                </c:pt>
                <c:pt idx="976">
                  <c:v>0.64872257348423279</c:v>
                </c:pt>
                <c:pt idx="977">
                  <c:v>0.59810991834113225</c:v>
                </c:pt>
                <c:pt idx="978">
                  <c:v>0.56551786358715261</c:v>
                </c:pt>
                <c:pt idx="979">
                  <c:v>0.60239992131405529</c:v>
                </c:pt>
                <c:pt idx="980">
                  <c:v>0.59001557435703167</c:v>
                </c:pt>
                <c:pt idx="981">
                  <c:v>0.58391437580494754</c:v>
                </c:pt>
                <c:pt idx="982">
                  <c:v>0.63000978683789655</c:v>
                </c:pt>
                <c:pt idx="983">
                  <c:v>0.6852061855670103</c:v>
                </c:pt>
                <c:pt idx="984">
                  <c:v>0.6996935094523854</c:v>
                </c:pt>
                <c:pt idx="985">
                  <c:v>0.71612521484319958</c:v>
                </c:pt>
                <c:pt idx="986">
                  <c:v>0.74872309899569589</c:v>
                </c:pt>
                <c:pt idx="987">
                  <c:v>0.76997774630791016</c:v>
                </c:pt>
                <c:pt idx="988">
                  <c:v>0.74726558049447411</c:v>
                </c:pt>
                <c:pt idx="989">
                  <c:v>0.74092908191313911</c:v>
                </c:pt>
                <c:pt idx="990">
                  <c:v>0.74244866129451514</c:v>
                </c:pt>
                <c:pt idx="991">
                  <c:v>0.74704480342826862</c:v>
                </c:pt>
                <c:pt idx="992">
                  <c:v>0.73549595918551636</c:v>
                </c:pt>
                <c:pt idx="993">
                  <c:v>0.72859614968635089</c:v>
                </c:pt>
                <c:pt idx="994">
                  <c:v>0.77043127321125748</c:v>
                </c:pt>
                <c:pt idx="995">
                  <c:v>0.81426870195951062</c:v>
                </c:pt>
                <c:pt idx="996">
                  <c:v>0.84199818668317805</c:v>
                </c:pt>
                <c:pt idx="997">
                  <c:v>0.80742251406288512</c:v>
                </c:pt>
                <c:pt idx="998">
                  <c:v>0.86111930310110918</c:v>
                </c:pt>
                <c:pt idx="999">
                  <c:v>0.87162223637521619</c:v>
                </c:pt>
                <c:pt idx="1000">
                  <c:v>0.83413763469293312</c:v>
                </c:pt>
                <c:pt idx="1001">
                  <c:v>0.72981372607241113</c:v>
                </c:pt>
                <c:pt idx="1002">
                  <c:v>0.69283618959394777</c:v>
                </c:pt>
                <c:pt idx="1003">
                  <c:v>0.71553473195423467</c:v>
                </c:pt>
                <c:pt idx="1004">
                  <c:v>0.76752800266163912</c:v>
                </c:pt>
                <c:pt idx="1005">
                  <c:v>0.77777517179914157</c:v>
                </c:pt>
                <c:pt idx="1006">
                  <c:v>0.80891133446114039</c:v>
                </c:pt>
                <c:pt idx="1007">
                  <c:v>0.85617793725759206</c:v>
                </c:pt>
                <c:pt idx="1008">
                  <c:v>0.88201442888021786</c:v>
                </c:pt>
                <c:pt idx="1009">
                  <c:v>0.91745755333043111</c:v>
                </c:pt>
                <c:pt idx="1010">
                  <c:v>0.91056717833224687</c:v>
                </c:pt>
                <c:pt idx="1011">
                  <c:v>0.92740855382600673</c:v>
                </c:pt>
                <c:pt idx="1012">
                  <c:v>0.90755212173041189</c:v>
                </c:pt>
                <c:pt idx="1013">
                  <c:v>0.85396403936621557</c:v>
                </c:pt>
                <c:pt idx="1014">
                  <c:v>0.82332747215942381</c:v>
                </c:pt>
                <c:pt idx="1015">
                  <c:v>0.77721034152569413</c:v>
                </c:pt>
                <c:pt idx="1016">
                  <c:v>0.68703618651647369</c:v>
                </c:pt>
                <c:pt idx="1017">
                  <c:v>0.66795410915074493</c:v>
                </c:pt>
                <c:pt idx="1018">
                  <c:v>0.65765344727823039</c:v>
                </c:pt>
                <c:pt idx="1019">
                  <c:v>0.61217476681394212</c:v>
                </c:pt>
                <c:pt idx="1020">
                  <c:v>0.6291844894922819</c:v>
                </c:pt>
                <c:pt idx="1021">
                  <c:v>0.62252537015471643</c:v>
                </c:pt>
                <c:pt idx="1022">
                  <c:v>0.58374527478918292</c:v>
                </c:pt>
                <c:pt idx="1023">
                  <c:v>0.51511763335662708</c:v>
                </c:pt>
                <c:pt idx="1024">
                  <c:v>0.46663934986000144</c:v>
                </c:pt>
                <c:pt idx="1025">
                  <c:v>0.37410544015420266</c:v>
                </c:pt>
                <c:pt idx="1026">
                  <c:v>0.33093266832917706</c:v>
                </c:pt>
                <c:pt idx="1027">
                  <c:v>0.35850294080311429</c:v>
                </c:pt>
                <c:pt idx="1028">
                  <c:v>0.36600630346690677</c:v>
                </c:pt>
                <c:pt idx="1029">
                  <c:v>0.33831699930848652</c:v>
                </c:pt>
                <c:pt idx="1030">
                  <c:v>0.30396599841257654</c:v>
                </c:pt>
                <c:pt idx="1031">
                  <c:v>0.29301361267970644</c:v>
                </c:pt>
                <c:pt idx="1032">
                  <c:v>0.26455911539552024</c:v>
                </c:pt>
                <c:pt idx="1033">
                  <c:v>0.23448374215630349</c:v>
                </c:pt>
                <c:pt idx="1034">
                  <c:v>0.2173070144518858</c:v>
                </c:pt>
                <c:pt idx="1035">
                  <c:v>0.19819081354840601</c:v>
                </c:pt>
                <c:pt idx="1036">
                  <c:v>0.17526804860614725</c:v>
                </c:pt>
                <c:pt idx="1037">
                  <c:v>0.13721568941151374</c:v>
                </c:pt>
                <c:pt idx="1038">
                  <c:v>0.11138280125231381</c:v>
                </c:pt>
                <c:pt idx="1039">
                  <c:v>9.8684210526315805E-2</c:v>
                </c:pt>
                <c:pt idx="1040">
                  <c:v>8.796996694122261E-2</c:v>
                </c:pt>
                <c:pt idx="1041">
                  <c:v>8.0002969947840286E-2</c:v>
                </c:pt>
                <c:pt idx="1042">
                  <c:v>7.5761212770278988E-2</c:v>
                </c:pt>
                <c:pt idx="1043">
                  <c:v>7.0574297641881972E-2</c:v>
                </c:pt>
                <c:pt idx="1044">
                  <c:v>6.2174056338574278E-2</c:v>
                </c:pt>
                <c:pt idx="1045">
                  <c:v>5.3241384792718303E-2</c:v>
                </c:pt>
                <c:pt idx="1046">
                  <c:v>5.252010996843498E-2</c:v>
                </c:pt>
                <c:pt idx="1047">
                  <c:v>6.0541699962148296E-2</c:v>
                </c:pt>
                <c:pt idx="1048">
                  <c:v>5.8896245390546435E-2</c:v>
                </c:pt>
                <c:pt idx="1049">
                  <c:v>5.4787824092353395E-2</c:v>
                </c:pt>
                <c:pt idx="1050">
                  <c:v>5.9700942840306422E-2</c:v>
                </c:pt>
                <c:pt idx="1051">
                  <c:v>6.0594175899598E-2</c:v>
                </c:pt>
                <c:pt idx="1052">
                  <c:v>5.2602588818507309E-2</c:v>
                </c:pt>
                <c:pt idx="1053">
                  <c:v>5.7666719289145477E-2</c:v>
                </c:pt>
                <c:pt idx="1054">
                  <c:v>7.45270352740144E-2</c:v>
                </c:pt>
                <c:pt idx="1055">
                  <c:v>9.3115494733524193E-2</c:v>
                </c:pt>
                <c:pt idx="1056">
                  <c:v>9.8384110419121373E-2</c:v>
                </c:pt>
                <c:pt idx="1057">
                  <c:v>8.8411473332565382E-2</c:v>
                </c:pt>
                <c:pt idx="1058">
                  <c:v>7.2850573374468819E-2</c:v>
                </c:pt>
                <c:pt idx="1059">
                  <c:v>6.6755288405964633E-2</c:v>
                </c:pt>
                <c:pt idx="1060">
                  <c:v>5.6832228340262941E-2</c:v>
                </c:pt>
                <c:pt idx="1061">
                  <c:v>4.9469964664310952E-2</c:v>
                </c:pt>
                <c:pt idx="1062">
                  <c:v>4.4555349803531902E-2</c:v>
                </c:pt>
                <c:pt idx="1063">
                  <c:v>4.487520438114375E-2</c:v>
                </c:pt>
                <c:pt idx="1064">
                  <c:v>4.7294876388391263E-2</c:v>
                </c:pt>
                <c:pt idx="1065">
                  <c:v>5.3559629217089254E-2</c:v>
                </c:pt>
                <c:pt idx="1066">
                  <c:v>5.3698036457640333E-2</c:v>
                </c:pt>
                <c:pt idx="1067">
                  <c:v>5.926085762485777E-2</c:v>
                </c:pt>
                <c:pt idx="1068">
                  <c:v>5.6938850238008064E-2</c:v>
                </c:pt>
                <c:pt idx="1069">
                  <c:v>6.9867291178766597E-2</c:v>
                </c:pt>
                <c:pt idx="1070">
                  <c:v>6.0705289672544079E-2</c:v>
                </c:pt>
                <c:pt idx="1071">
                  <c:v>5.2712506767731461E-2</c:v>
                </c:pt>
                <c:pt idx="1072">
                  <c:v>6.9206909921164864E-2</c:v>
                </c:pt>
                <c:pt idx="1073">
                  <c:v>9.2627562442813463E-2</c:v>
                </c:pt>
                <c:pt idx="1074">
                  <c:v>0.12506613256745522</c:v>
                </c:pt>
                <c:pt idx="1075">
                  <c:v>0.15306553061511566</c:v>
                </c:pt>
                <c:pt idx="1076">
                  <c:v>0.15135261690398655</c:v>
                </c:pt>
                <c:pt idx="1077">
                  <c:v>0.1672559709834158</c:v>
                </c:pt>
                <c:pt idx="1078">
                  <c:v>0.17942768754833721</c:v>
                </c:pt>
                <c:pt idx="1079">
                  <c:v>0.20305807081277449</c:v>
                </c:pt>
                <c:pt idx="1080">
                  <c:v>0.20408511121843126</c:v>
                </c:pt>
                <c:pt idx="1081">
                  <c:v>0.19973123776693638</c:v>
                </c:pt>
                <c:pt idx="1082">
                  <c:v>0.19089517980107118</c:v>
                </c:pt>
                <c:pt idx="1083">
                  <c:v>0.16696724649485137</c:v>
                </c:pt>
                <c:pt idx="1084">
                  <c:v>0.14568264014466548</c:v>
                </c:pt>
                <c:pt idx="1085">
                  <c:v>0.1210401891252955</c:v>
                </c:pt>
                <c:pt idx="1086">
                  <c:v>0.10965243888468854</c:v>
                </c:pt>
                <c:pt idx="1087">
                  <c:v>9.4124519104880428E-2</c:v>
                </c:pt>
                <c:pt idx="1088">
                  <c:v>8.0827394402920208E-2</c:v>
                </c:pt>
                <c:pt idx="1089">
                  <c:v>4.9813924639478993E-2</c:v>
                </c:pt>
                <c:pt idx="1090">
                  <c:v>2.9687409045928169E-2</c:v>
                </c:pt>
                <c:pt idx="1091">
                  <c:v>2.1771429703441036E-2</c:v>
                </c:pt>
                <c:pt idx="1092">
                  <c:v>1.9254747255891911E-2</c:v>
                </c:pt>
                <c:pt idx="1093">
                  <c:v>1.7492953075775163E-2</c:v>
                </c:pt>
                <c:pt idx="1094">
                  <c:v>2.3271586622016869E-2</c:v>
                </c:pt>
                <c:pt idx="1095">
                  <c:v>2.8874085399148191E-2</c:v>
                </c:pt>
                <c:pt idx="1096">
                  <c:v>3.2981816603740832E-2</c:v>
                </c:pt>
                <c:pt idx="1097">
                  <c:v>4.4676507537688447E-2</c:v>
                </c:pt>
                <c:pt idx="1098">
                  <c:v>6.5325957512196997E-2</c:v>
                </c:pt>
                <c:pt idx="1099">
                  <c:v>0.10626725283713323</c:v>
                </c:pt>
                <c:pt idx="1100">
                  <c:v>0.13732294462995701</c:v>
                </c:pt>
                <c:pt idx="1101">
                  <c:v>0.15840130505709626</c:v>
                </c:pt>
                <c:pt idx="1102">
                  <c:v>0.18728700174185242</c:v>
                </c:pt>
                <c:pt idx="1103">
                  <c:v>0.21294841040063969</c:v>
                </c:pt>
                <c:pt idx="1104">
                  <c:v>0.27336530588372909</c:v>
                </c:pt>
                <c:pt idx="1105">
                  <c:v>0.29016300622820873</c:v>
                </c:pt>
                <c:pt idx="1106">
                  <c:v>0.26273417411534222</c:v>
                </c:pt>
                <c:pt idx="1107">
                  <c:v>0.28267523722069177</c:v>
                </c:pt>
                <c:pt idx="1108">
                  <c:v>0.36939620505793697</c:v>
                </c:pt>
                <c:pt idx="1109">
                  <c:v>0.40090027508405346</c:v>
                </c:pt>
                <c:pt idx="1110">
                  <c:v>0.38730044412435483</c:v>
                </c:pt>
                <c:pt idx="1111">
                  <c:v>0.38848056976046041</c:v>
                </c:pt>
                <c:pt idx="1112">
                  <c:v>0.4123699125180198</c:v>
                </c:pt>
                <c:pt idx="1113">
                  <c:v>0.43829372808726136</c:v>
                </c:pt>
                <c:pt idx="1114">
                  <c:v>0.47716426778082294</c:v>
                </c:pt>
                <c:pt idx="1115">
                  <c:v>0.5138269746618036</c:v>
                </c:pt>
                <c:pt idx="1116">
                  <c:v>0.55280182944706135</c:v>
                </c:pt>
                <c:pt idx="1117">
                  <c:v>0.56117317889217178</c:v>
                </c:pt>
                <c:pt idx="1118">
                  <c:v>0.56159900413604791</c:v>
                </c:pt>
                <c:pt idx="1119">
                  <c:v>0.55338823869383036</c:v>
                </c:pt>
                <c:pt idx="1120">
                  <c:v>0.52543561191875454</c:v>
                </c:pt>
                <c:pt idx="1121">
                  <c:v>0.46420456733546434</c:v>
                </c:pt>
                <c:pt idx="1122">
                  <c:v>0.46672081061221343</c:v>
                </c:pt>
                <c:pt idx="1123">
                  <c:v>0.5114109819041105</c:v>
                </c:pt>
                <c:pt idx="1124">
                  <c:v>0.52692273574026438</c:v>
                </c:pt>
                <c:pt idx="1125">
                  <c:v>0.51838349179116927</c:v>
                </c:pt>
                <c:pt idx="1126">
                  <c:v>0.52386139641041596</c:v>
                </c:pt>
                <c:pt idx="1127">
                  <c:v>0.48925246826516217</c:v>
                </c:pt>
                <c:pt idx="1128">
                  <c:v>0.40959222606414691</c:v>
                </c:pt>
                <c:pt idx="1129">
                  <c:v>0.34143404150197632</c:v>
                </c:pt>
                <c:pt idx="1130">
                  <c:v>0.26242094333092097</c:v>
                </c:pt>
                <c:pt idx="1131">
                  <c:v>0.23524028904105268</c:v>
                </c:pt>
                <c:pt idx="1132">
                  <c:v>0.20385726264790838</c:v>
                </c:pt>
                <c:pt idx="1133">
                  <c:v>0.17978766606718105</c:v>
                </c:pt>
                <c:pt idx="1134">
                  <c:v>0.13368997325200607</c:v>
                </c:pt>
                <c:pt idx="1135">
                  <c:v>0.11932915319693649</c:v>
                </c:pt>
                <c:pt idx="1136">
                  <c:v>0.11859164737930893</c:v>
                </c:pt>
                <c:pt idx="1137">
                  <c:v>0.11345837182216152</c:v>
                </c:pt>
                <c:pt idx="1138">
                  <c:v>0.11913867973387515</c:v>
                </c:pt>
                <c:pt idx="1139">
                  <c:v>0.12940795203662067</c:v>
                </c:pt>
                <c:pt idx="1140">
                  <c:v>0.1468543255657157</c:v>
                </c:pt>
                <c:pt idx="1141">
                  <c:v>0.1329605802858253</c:v>
                </c:pt>
                <c:pt idx="1142">
                  <c:v>0.14567614625652933</c:v>
                </c:pt>
                <c:pt idx="1143">
                  <c:v>0.16620034859187233</c:v>
                </c:pt>
                <c:pt idx="1144">
                  <c:v>0.16831459148811007</c:v>
                </c:pt>
                <c:pt idx="1145">
                  <c:v>0.15459486268107706</c:v>
                </c:pt>
                <c:pt idx="1146">
                  <c:v>0.14439427223171428</c:v>
                </c:pt>
                <c:pt idx="1147">
                  <c:v>0.17488072783756797</c:v>
                </c:pt>
                <c:pt idx="1148">
                  <c:v>0.16414697273892745</c:v>
                </c:pt>
                <c:pt idx="1149">
                  <c:v>0.15760363899514113</c:v>
                </c:pt>
                <c:pt idx="1150">
                  <c:v>0.18675066607460036</c:v>
                </c:pt>
                <c:pt idx="1151">
                  <c:v>0.21067299140231247</c:v>
                </c:pt>
                <c:pt idx="1152">
                  <c:v>0.26764641092614155</c:v>
                </c:pt>
                <c:pt idx="1153">
                  <c:v>0.27785226120793954</c:v>
                </c:pt>
                <c:pt idx="1154">
                  <c:v>0.28444875309219769</c:v>
                </c:pt>
                <c:pt idx="1155">
                  <c:v>0.29304902619207518</c:v>
                </c:pt>
                <c:pt idx="1156">
                  <c:v>0.3019624887165257</c:v>
                </c:pt>
                <c:pt idx="1157">
                  <c:v>0.31347141782009752</c:v>
                </c:pt>
                <c:pt idx="1158">
                  <c:v>0.28023708094091498</c:v>
                </c:pt>
                <c:pt idx="1159">
                  <c:v>0.24198184353567265</c:v>
                </c:pt>
                <c:pt idx="1160">
                  <c:v>0.20906497788710648</c:v>
                </c:pt>
                <c:pt idx="1161">
                  <c:v>0.20912622800722577</c:v>
                </c:pt>
                <c:pt idx="1162">
                  <c:v>0.26353877698709444</c:v>
                </c:pt>
                <c:pt idx="1163">
                  <c:v>0.38008513520050302</c:v>
                </c:pt>
                <c:pt idx="1164">
                  <c:v>0.46791962116936969</c:v>
                </c:pt>
                <c:pt idx="1165">
                  <c:v>0.46456418304561192</c:v>
                </c:pt>
                <c:pt idx="1166">
                  <c:v>0.43710550045085667</c:v>
                </c:pt>
                <c:pt idx="1167">
                  <c:v>0.47222638493431235</c:v>
                </c:pt>
                <c:pt idx="1168">
                  <c:v>0.50120189389340775</c:v>
                </c:pt>
                <c:pt idx="1169">
                  <c:v>0.51458628005657714</c:v>
                </c:pt>
                <c:pt idx="1170">
                  <c:v>0.58238440303657701</c:v>
                </c:pt>
                <c:pt idx="1171">
                  <c:v>0.69960584280083471</c:v>
                </c:pt>
                <c:pt idx="1172">
                  <c:v>0.80346106304079112</c:v>
                </c:pt>
                <c:pt idx="1173">
                  <c:v>0.8746134898590221</c:v>
                </c:pt>
                <c:pt idx="1174">
                  <c:v>0.96992313690542487</c:v>
                </c:pt>
                <c:pt idx="1175">
                  <c:v>1.0299473202015577</c:v>
                </c:pt>
                <c:pt idx="1176">
                  <c:v>1.115230736340592</c:v>
                </c:pt>
                <c:pt idx="1177">
                  <c:v>1.1241680927933067</c:v>
                </c:pt>
                <c:pt idx="1178">
                  <c:v>1.1126445718728739</c:v>
                </c:pt>
                <c:pt idx="1179">
                  <c:v>1.1094551753439881</c:v>
                </c:pt>
                <c:pt idx="1180">
                  <c:v>1.0631386503868629</c:v>
                </c:pt>
                <c:pt idx="1181">
                  <c:v>1.0083882171761853</c:v>
                </c:pt>
                <c:pt idx="1182">
                  <c:v>0.87204100652376515</c:v>
                </c:pt>
                <c:pt idx="1183">
                  <c:v>0.71095831542758914</c:v>
                </c:pt>
                <c:pt idx="1184">
                  <c:v>0.62755500498209138</c:v>
                </c:pt>
                <c:pt idx="1185">
                  <c:v>0.5716015437782207</c:v>
                </c:pt>
                <c:pt idx="1186">
                  <c:v>0.54690096783654307</c:v>
                </c:pt>
                <c:pt idx="1187">
                  <c:v>0.54420709454527771</c:v>
                </c:pt>
                <c:pt idx="1188">
                  <c:v>0.53218957857791527</c:v>
                </c:pt>
                <c:pt idx="1189">
                  <c:v>0.51363498636501359</c:v>
                </c:pt>
                <c:pt idx="1190">
                  <c:v>0.54445352817944914</c:v>
                </c:pt>
                <c:pt idx="1191">
                  <c:v>0.61485931402752103</c:v>
                </c:pt>
                <c:pt idx="1192">
                  <c:v>0.6147997216976443</c:v>
                </c:pt>
                <c:pt idx="1193">
                  <c:v>0.56989390509166782</c:v>
                </c:pt>
                <c:pt idx="1194">
                  <c:v>0.52846940745029913</c:v>
                </c:pt>
                <c:pt idx="1195">
                  <c:v>0.58672199170124473</c:v>
                </c:pt>
                <c:pt idx="1196">
                  <c:v>0.60385885624891367</c:v>
                </c:pt>
                <c:pt idx="1197">
                  <c:v>0.70250430634689287</c:v>
                </c:pt>
                <c:pt idx="1198">
                  <c:v>0.8062274905708533</c:v>
                </c:pt>
                <c:pt idx="1199">
                  <c:v>0.94501406405952271</c:v>
                </c:pt>
                <c:pt idx="1200">
                  <c:v>0.98299697124179097</c:v>
                </c:pt>
                <c:pt idx="1201">
                  <c:v>1.0484969575878667</c:v>
                </c:pt>
                <c:pt idx="1202">
                  <c:v>1.058468111077205</c:v>
                </c:pt>
                <c:pt idx="1203">
                  <c:v>1.043453176241953</c:v>
                </c:pt>
                <c:pt idx="1204">
                  <c:v>1.1098775222486563</c:v>
                </c:pt>
                <c:pt idx="1205">
                  <c:v>1.0797442524826555</c:v>
                </c:pt>
                <c:pt idx="1206">
                  <c:v>1.0191810702515591</c:v>
                </c:pt>
                <c:pt idx="1207">
                  <c:v>0.88269282730239218</c:v>
                </c:pt>
                <c:pt idx="1208">
                  <c:v>0.81595482382883966</c:v>
                </c:pt>
                <c:pt idx="1209">
                  <c:v>0.78099909029782855</c:v>
                </c:pt>
                <c:pt idx="1210">
                  <c:v>0.76059845522286429</c:v>
                </c:pt>
                <c:pt idx="1211">
                  <c:v>0.76253421978881497</c:v>
                </c:pt>
                <c:pt idx="1212">
                  <c:v>0.79578494113929066</c:v>
                </c:pt>
                <c:pt idx="1213">
                  <c:v>0.79838535849352388</c:v>
                </c:pt>
                <c:pt idx="1214">
                  <c:v>0.830356611889706</c:v>
                </c:pt>
                <c:pt idx="1215">
                  <c:v>0.89660622024111025</c:v>
                </c:pt>
                <c:pt idx="1216">
                  <c:v>0.91571408339571503</c:v>
                </c:pt>
                <c:pt idx="1217">
                  <c:v>0.85888334431786095</c:v>
                </c:pt>
                <c:pt idx="1218">
                  <c:v>0.86671325501454299</c:v>
                </c:pt>
                <c:pt idx="1219">
                  <c:v>0.91714657620700546</c:v>
                </c:pt>
                <c:pt idx="1220">
                  <c:v>0.96504429390307456</c:v>
                </c:pt>
                <c:pt idx="1221">
                  <c:v>0.97042318610946054</c:v>
                </c:pt>
                <c:pt idx="1222">
                  <c:v>0.94708576086695917</c:v>
                </c:pt>
                <c:pt idx="1223">
                  <c:v>0.96685210346860817</c:v>
                </c:pt>
                <c:pt idx="1224">
                  <c:v>1.1979163677065694</c:v>
                </c:pt>
                <c:pt idx="1225">
                  <c:v>1.2623734449689734</c:v>
                </c:pt>
                <c:pt idx="1226">
                  <c:v>1.2702846344632099</c:v>
                </c:pt>
                <c:pt idx="1227">
                  <c:v>1.3182194934765923</c:v>
                </c:pt>
                <c:pt idx="1228">
                  <c:v>1.3030221504797774</c:v>
                </c:pt>
                <c:pt idx="1229">
                  <c:v>1.1784488862262406</c:v>
                </c:pt>
                <c:pt idx="1230">
                  <c:v>1.0163279773156901</c:v>
                </c:pt>
                <c:pt idx="1231">
                  <c:v>0.89260806056740793</c:v>
                </c:pt>
                <c:pt idx="1232">
                  <c:v>0.8621294929588702</c:v>
                </c:pt>
                <c:pt idx="1233">
                  <c:v>0.87578632051922112</c:v>
                </c:pt>
                <c:pt idx="1234">
                  <c:v>0.89423804404093499</c:v>
                </c:pt>
                <c:pt idx="1235">
                  <c:v>0.91217664856633351</c:v>
                </c:pt>
                <c:pt idx="1236">
                  <c:v>0.92886473676683901</c:v>
                </c:pt>
                <c:pt idx="1237">
                  <c:v>0.91949126381428647</c:v>
                </c:pt>
                <c:pt idx="1238">
                  <c:v>0.93156406902662348</c:v>
                </c:pt>
                <c:pt idx="1239">
                  <c:v>0.93310941964188332</c:v>
                </c:pt>
                <c:pt idx="1240">
                  <c:v>0.82866192294342245</c:v>
                </c:pt>
                <c:pt idx="1241">
                  <c:v>0.67224574578573137</c:v>
                </c:pt>
                <c:pt idx="1242">
                  <c:v>0.61262715655573496</c:v>
                </c:pt>
                <c:pt idx="1243">
                  <c:v>0.57935569523098296</c:v>
                </c:pt>
                <c:pt idx="1244">
                  <c:v>0.58501158438780976</c:v>
                </c:pt>
                <c:pt idx="1245">
                  <c:v>0.61520560433760385</c:v>
                </c:pt>
                <c:pt idx="1246">
                  <c:v>0.66625641025641025</c:v>
                </c:pt>
                <c:pt idx="1247">
                  <c:v>0.86075246425100649</c:v>
                </c:pt>
                <c:pt idx="1248">
                  <c:v>0.91637582786006755</c:v>
                </c:pt>
                <c:pt idx="1249">
                  <c:v>1.0560557735188687</c:v>
                </c:pt>
                <c:pt idx="1250">
                  <c:v>1.1091452778469972</c:v>
                </c:pt>
                <c:pt idx="1251">
                  <c:v>1.1062244062244062</c:v>
                </c:pt>
                <c:pt idx="1252">
                  <c:v>1.0791426657736101</c:v>
                </c:pt>
                <c:pt idx="1253">
                  <c:v>1.0043435687564337</c:v>
                </c:pt>
                <c:pt idx="1254">
                  <c:v>0.90352987924678252</c:v>
                </c:pt>
                <c:pt idx="1255">
                  <c:v>0.86350589132660227</c:v>
                </c:pt>
                <c:pt idx="1256">
                  <c:v>0.81998460900964909</c:v>
                </c:pt>
                <c:pt idx="1257">
                  <c:v>0.84837741474125239</c:v>
                </c:pt>
                <c:pt idx="1258">
                  <c:v>0.87673401539587981</c:v>
                </c:pt>
                <c:pt idx="1259">
                  <c:v>0.91621691593810373</c:v>
                </c:pt>
                <c:pt idx="1260">
                  <c:v>0.95487100187189711</c:v>
                </c:pt>
                <c:pt idx="1261">
                  <c:v>0.97350044029407534</c:v>
                </c:pt>
                <c:pt idx="1262">
                  <c:v>0.98824724318049917</c:v>
                </c:pt>
                <c:pt idx="1263">
                  <c:v>1.00641973222959</c:v>
                </c:pt>
                <c:pt idx="1264">
                  <c:v>0.98930223794669958</c:v>
                </c:pt>
                <c:pt idx="1265">
                  <c:v>0.91946256601429011</c:v>
                </c:pt>
                <c:pt idx="1266">
                  <c:v>0.90922267144709723</c:v>
                </c:pt>
                <c:pt idx="1267">
                  <c:v>0.9654258547440826</c:v>
                </c:pt>
                <c:pt idx="1268">
                  <c:v>1.0304319654427645</c:v>
                </c:pt>
                <c:pt idx="1269">
                  <c:v>1.1024025750086215</c:v>
                </c:pt>
                <c:pt idx="1270">
                  <c:v>1.1901947148817802</c:v>
                </c:pt>
                <c:pt idx="1271">
                  <c:v>1.2614413605514037</c:v>
                </c:pt>
                <c:pt idx="1272">
                  <c:v>1.1843695079086114</c:v>
                </c:pt>
                <c:pt idx="1273">
                  <c:v>1.1763751782767975</c:v>
                </c:pt>
                <c:pt idx="1274">
                  <c:v>1.212239475213817</c:v>
                </c:pt>
                <c:pt idx="1275">
                  <c:v>1.3009726170881339</c:v>
                </c:pt>
                <c:pt idx="1276">
                  <c:v>1.176704917058089</c:v>
                </c:pt>
                <c:pt idx="1277">
                  <c:v>0.94783264018756819</c:v>
                </c:pt>
                <c:pt idx="1278">
                  <c:v>0.65739840098692792</c:v>
                </c:pt>
                <c:pt idx="1279">
                  <c:v>0.46113619657670896</c:v>
                </c:pt>
                <c:pt idx="1280">
                  <c:v>0.34006651568015339</c:v>
                </c:pt>
                <c:pt idx="1281">
                  <c:v>0.25288810874800999</c:v>
                </c:pt>
                <c:pt idx="1282">
                  <c:v>0.1764362023785527</c:v>
                </c:pt>
                <c:pt idx="1283">
                  <c:v>0.13691066119212797</c:v>
                </c:pt>
                <c:pt idx="1284">
                  <c:v>0.13287772139466364</c:v>
                </c:pt>
                <c:pt idx="1285">
                  <c:v>0.12229850503737408</c:v>
                </c:pt>
                <c:pt idx="1286">
                  <c:v>0.12423103918087609</c:v>
                </c:pt>
                <c:pt idx="1287">
                  <c:v>0.19241860659505997</c:v>
                </c:pt>
                <c:pt idx="1288">
                  <c:v>0.27120744291866417</c:v>
                </c:pt>
                <c:pt idx="1289">
                  <c:v>0.29730693440930839</c:v>
                </c:pt>
                <c:pt idx="1290">
                  <c:v>0.3245255915929538</c:v>
                </c:pt>
                <c:pt idx="1291">
                  <c:v>0.3615187234383771</c:v>
                </c:pt>
                <c:pt idx="1292">
                  <c:v>0.43464031178003137</c:v>
                </c:pt>
                <c:pt idx="1293">
                  <c:v>0.45436361964318556</c:v>
                </c:pt>
                <c:pt idx="1294">
                  <c:v>0.54490351311232066</c:v>
                </c:pt>
                <c:pt idx="1295">
                  <c:v>0.63915240952458185</c:v>
                </c:pt>
                <c:pt idx="1296">
                  <c:v>0.72135054617676264</c:v>
                </c:pt>
                <c:pt idx="1297">
                  <c:v>0.64859704946485386</c:v>
                </c:pt>
                <c:pt idx="1298">
                  <c:v>0.67744954665106749</c:v>
                </c:pt>
                <c:pt idx="1299">
                  <c:v>0.78684973213501574</c:v>
                </c:pt>
                <c:pt idx="1300">
                  <c:v>0.66048506273362118</c:v>
                </c:pt>
                <c:pt idx="1301">
                  <c:v>0.4931948812493222</c:v>
                </c:pt>
                <c:pt idx="1302">
                  <c:v>0.35232221463713181</c:v>
                </c:pt>
                <c:pt idx="1303">
                  <c:v>0.21102061170212769</c:v>
                </c:pt>
                <c:pt idx="1304">
                  <c:v>0.16249269639151373</c:v>
                </c:pt>
                <c:pt idx="1305">
                  <c:v>0.21173948550428745</c:v>
                </c:pt>
                <c:pt idx="1306">
                  <c:v>0.25279888861649097</c:v>
                </c:pt>
                <c:pt idx="1307">
                  <c:v>0.30966069449961325</c:v>
                </c:pt>
                <c:pt idx="1308">
                  <c:v>0.37565482012824691</c:v>
                </c:pt>
                <c:pt idx="1309">
                  <c:v>0.45078079556132267</c:v>
                </c:pt>
                <c:pt idx="1310">
                  <c:v>0.52569280044562039</c:v>
                </c:pt>
                <c:pt idx="1311">
                  <c:v>0.56506800286327841</c:v>
                </c:pt>
                <c:pt idx="1312">
                  <c:v>0.57375816532731816</c:v>
                </c:pt>
                <c:pt idx="1313">
                  <c:v>0.50642806382841266</c:v>
                </c:pt>
                <c:pt idx="1314">
                  <c:v>0.42490647805556125</c:v>
                </c:pt>
                <c:pt idx="1315">
                  <c:v>0.45736858230839939</c:v>
                </c:pt>
                <c:pt idx="1316">
                  <c:v>0.5144345766725873</c:v>
                </c:pt>
                <c:pt idx="1317">
                  <c:v>0.52320654316121407</c:v>
                </c:pt>
                <c:pt idx="1318">
                  <c:v>0.47566049776643271</c:v>
                </c:pt>
                <c:pt idx="1319">
                  <c:v>0.49051505612969726</c:v>
                </c:pt>
                <c:pt idx="1320">
                  <c:v>0.4683120236046226</c:v>
                </c:pt>
                <c:pt idx="1321">
                  <c:v>0.3741609136894346</c:v>
                </c:pt>
                <c:pt idx="1322">
                  <c:v>0.2999291328437057</c:v>
                </c:pt>
                <c:pt idx="1323">
                  <c:v>0.26208020867297033</c:v>
                </c:pt>
                <c:pt idx="1324">
                  <c:v>0.21344358667915631</c:v>
                </c:pt>
                <c:pt idx="1325">
                  <c:v>0.20252162067982388</c:v>
                </c:pt>
                <c:pt idx="1326">
                  <c:v>0.19070346544926331</c:v>
                </c:pt>
                <c:pt idx="1327">
                  <c:v>0.18010410321723239</c:v>
                </c:pt>
                <c:pt idx="1328">
                  <c:v>0.22644904253951934</c:v>
                </c:pt>
                <c:pt idx="1329">
                  <c:v>0.27677161468614292</c:v>
                </c:pt>
                <c:pt idx="1330">
                  <c:v>0.35915561150382497</c:v>
                </c:pt>
                <c:pt idx="1331">
                  <c:v>0.53881476138959017</c:v>
                </c:pt>
                <c:pt idx="1332">
                  <c:v>0.69347898838265531</c:v>
                </c:pt>
                <c:pt idx="1333">
                  <c:v>0.81912948495713911</c:v>
                </c:pt>
                <c:pt idx="1334">
                  <c:v>0.89962922469933937</c:v>
                </c:pt>
                <c:pt idx="1335">
                  <c:v>0.90837452205539493</c:v>
                </c:pt>
                <c:pt idx="1336">
                  <c:v>0.91100755553544754</c:v>
                </c:pt>
                <c:pt idx="1337">
                  <c:v>0.8781576270834629</c:v>
                </c:pt>
                <c:pt idx="1338">
                  <c:v>0.88552599463021742</c:v>
                </c:pt>
                <c:pt idx="1339">
                  <c:v>0.95365858987524321</c:v>
                </c:pt>
                <c:pt idx="1340">
                  <c:v>0.99465388515070496</c:v>
                </c:pt>
                <c:pt idx="1341">
                  <c:v>1.0209775034359705</c:v>
                </c:pt>
                <c:pt idx="1342">
                  <c:v>1.0698180329127531</c:v>
                </c:pt>
                <c:pt idx="1343">
                  <c:v>1.0978237214363438</c:v>
                </c:pt>
                <c:pt idx="1344">
                  <c:v>1.1414742664742665</c:v>
                </c:pt>
                <c:pt idx="1345">
                  <c:v>1.0788446766016286</c:v>
                </c:pt>
                <c:pt idx="1346">
                  <c:v>1.0011447832861642</c:v>
                </c:pt>
                <c:pt idx="1347">
                  <c:v>0.90683448629259544</c:v>
                </c:pt>
                <c:pt idx="1348">
                  <c:v>0.79768804235456281</c:v>
                </c:pt>
                <c:pt idx="1349">
                  <c:v>0.76040828154683326</c:v>
                </c:pt>
                <c:pt idx="1350">
                  <c:v>0.68131352619233776</c:v>
                </c:pt>
                <c:pt idx="1351">
                  <c:v>0.58802066610233805</c:v>
                </c:pt>
                <c:pt idx="1352">
                  <c:v>0.4972532625880966</c:v>
                </c:pt>
                <c:pt idx="1353">
                  <c:v>0.43995249766278394</c:v>
                </c:pt>
                <c:pt idx="1354">
                  <c:v>0.4358822073744123</c:v>
                </c:pt>
                <c:pt idx="1355">
                  <c:v>0.45074788427474899</c:v>
                </c:pt>
                <c:pt idx="1356">
                  <c:v>0.4465949643140365</c:v>
                </c:pt>
                <c:pt idx="1357">
                  <c:v>0.43907573555210261</c:v>
                </c:pt>
                <c:pt idx="1358">
                  <c:v>0.42626488284125807</c:v>
                </c:pt>
                <c:pt idx="1359">
                  <c:v>0.45154660103022154</c:v>
                </c:pt>
                <c:pt idx="1360">
                  <c:v>0.46014288169297624</c:v>
                </c:pt>
                <c:pt idx="1361">
                  <c:v>0.44812440382439717</c:v>
                </c:pt>
                <c:pt idx="1362">
                  <c:v>0.41397103460237628</c:v>
                </c:pt>
                <c:pt idx="1363">
                  <c:v>0.43150637711134093</c:v>
                </c:pt>
                <c:pt idx="1364">
                  <c:v>0.55467668578208418</c:v>
                </c:pt>
                <c:pt idx="1365">
                  <c:v>0.69383766079399878</c:v>
                </c:pt>
                <c:pt idx="1366">
                  <c:v>0.81580370612849051</c:v>
                </c:pt>
                <c:pt idx="1367">
                  <c:v>0.92888181651263846</c:v>
                </c:pt>
                <c:pt idx="1368">
                  <c:v>1.0606382294280381</c:v>
                </c:pt>
                <c:pt idx="1369">
                  <c:v>1.1381162351225009</c:v>
                </c:pt>
                <c:pt idx="1370">
                  <c:v>1.2047776996013</c:v>
                </c:pt>
                <c:pt idx="1371">
                  <c:v>1.2110482991173264</c:v>
                </c:pt>
                <c:pt idx="1372">
                  <c:v>1.1409581299768818</c:v>
                </c:pt>
                <c:pt idx="1373">
                  <c:v>1.0070002669593332</c:v>
                </c:pt>
                <c:pt idx="1374">
                  <c:v>0.81094416894875776</c:v>
                </c:pt>
                <c:pt idx="1375">
                  <c:v>0.66906167137114025</c:v>
                </c:pt>
                <c:pt idx="1376">
                  <c:v>0.6001850899742931</c:v>
                </c:pt>
                <c:pt idx="1377">
                  <c:v>0.56904877850823798</c:v>
                </c:pt>
                <c:pt idx="1378">
                  <c:v>0.55767233804616978</c:v>
                </c:pt>
                <c:pt idx="1379">
                  <c:v>0.54521405492730213</c:v>
                </c:pt>
                <c:pt idx="1380">
                  <c:v>0.50774484693255284</c:v>
                </c:pt>
                <c:pt idx="1381">
                  <c:v>0.47943550822378361</c:v>
                </c:pt>
                <c:pt idx="1382">
                  <c:v>0.4887899803332989</c:v>
                </c:pt>
                <c:pt idx="1383">
                  <c:v>0.48039737071624589</c:v>
                </c:pt>
                <c:pt idx="1384">
                  <c:v>0.48690583344048682</c:v>
                </c:pt>
                <c:pt idx="1385">
                  <c:v>0.47578370217330851</c:v>
                </c:pt>
                <c:pt idx="1386">
                  <c:v>0.48386841376034201</c:v>
                </c:pt>
                <c:pt idx="1387">
                  <c:v>0.54891040651435563</c:v>
                </c:pt>
                <c:pt idx="1388">
                  <c:v>0.65062295380138235</c:v>
                </c:pt>
                <c:pt idx="1389">
                  <c:v>0.77368004033710303</c:v>
                </c:pt>
                <c:pt idx="1390">
                  <c:v>0.92988631622861917</c:v>
                </c:pt>
                <c:pt idx="1391">
                  <c:v>1.0639965913932681</c:v>
                </c:pt>
                <c:pt idx="1392">
                  <c:v>1.153074217802571</c:v>
                </c:pt>
                <c:pt idx="1393">
                  <c:v>1.1782509458149641</c:v>
                </c:pt>
                <c:pt idx="1394">
                  <c:v>1.1597053947200613</c:v>
                </c:pt>
                <c:pt idx="1395">
                  <c:v>1.1550591744138086</c:v>
                </c:pt>
                <c:pt idx="1396">
                  <c:v>1.1221582109892831</c:v>
                </c:pt>
                <c:pt idx="1397">
                  <c:v>1.0256621108149493</c:v>
                </c:pt>
                <c:pt idx="1398">
                  <c:v>0.87325116588940699</c:v>
                </c:pt>
                <c:pt idx="1399">
                  <c:v>0.79129944446764966</c:v>
                </c:pt>
                <c:pt idx="1400">
                  <c:v>0.76653970940894345</c:v>
                </c:pt>
                <c:pt idx="1401">
                  <c:v>0.79691935971005734</c:v>
                </c:pt>
                <c:pt idx="1402">
                  <c:v>0.80687045703475058</c:v>
                </c:pt>
                <c:pt idx="1403">
                  <c:v>0.79048440823534138</c:v>
                </c:pt>
                <c:pt idx="1404">
                  <c:v>0.75620356091406138</c:v>
                </c:pt>
                <c:pt idx="1405">
                  <c:v>0.79235106144796563</c:v>
                </c:pt>
                <c:pt idx="1406">
                  <c:v>0.81536309349814184</c:v>
                </c:pt>
                <c:pt idx="1407">
                  <c:v>0.84212883959044371</c:v>
                </c:pt>
                <c:pt idx="1408">
                  <c:v>0.81280882603509974</c:v>
                </c:pt>
                <c:pt idx="1409">
                  <c:v>0.70446462278209387</c:v>
                </c:pt>
                <c:pt idx="1410">
                  <c:v>0.69242268341454905</c:v>
                </c:pt>
                <c:pt idx="1411">
                  <c:v>0.75352430128677983</c:v>
                </c:pt>
                <c:pt idx="1412">
                  <c:v>0.87491548343475334</c:v>
                </c:pt>
                <c:pt idx="1413">
                  <c:v>0.95715244198690541</c:v>
                </c:pt>
                <c:pt idx="1414">
                  <c:v>1.0494736580145834</c:v>
                </c:pt>
                <c:pt idx="1415">
                  <c:v>1.1364205256570714</c:v>
                </c:pt>
                <c:pt idx="1416">
                  <c:v>1.172755770874893</c:v>
                </c:pt>
                <c:pt idx="1417">
                  <c:v>1.1674650931822164</c:v>
                </c:pt>
                <c:pt idx="1418">
                  <c:v>1.1663246185419827</c:v>
                </c:pt>
                <c:pt idx="1419">
                  <c:v>1.1713870086688043</c:v>
                </c:pt>
                <c:pt idx="1420">
                  <c:v>1.1423967949834524</c:v>
                </c:pt>
                <c:pt idx="1421">
                  <c:v>1.0334307043167803</c:v>
                </c:pt>
                <c:pt idx="1422">
                  <c:v>0.8601178149017441</c:v>
                </c:pt>
                <c:pt idx="1423">
                  <c:v>0.75130491297195179</c:v>
                </c:pt>
                <c:pt idx="1424">
                  <c:v>0.71849823704374893</c:v>
                </c:pt>
                <c:pt idx="1425">
                  <c:v>0.71545456346454817</c:v>
                </c:pt>
                <c:pt idx="1426">
                  <c:v>0.72526540116026683</c:v>
                </c:pt>
                <c:pt idx="1427">
                  <c:v>0.73060370591751345</c:v>
                </c:pt>
                <c:pt idx="1428">
                  <c:v>0.7132224700872033</c:v>
                </c:pt>
                <c:pt idx="1429">
                  <c:v>0.69918501398856581</c:v>
                </c:pt>
                <c:pt idx="1430">
                  <c:v>0.71144780451654077</c:v>
                </c:pt>
                <c:pt idx="1431">
                  <c:v>0.71235136582753078</c:v>
                </c:pt>
                <c:pt idx="1432">
                  <c:v>0.63788698207213723</c:v>
                </c:pt>
                <c:pt idx="1433">
                  <c:v>0.51160762078467903</c:v>
                </c:pt>
                <c:pt idx="1434">
                  <c:v>0.41606936416184975</c:v>
                </c:pt>
                <c:pt idx="1435">
                  <c:v>0.3787044748227742</c:v>
                </c:pt>
                <c:pt idx="1436">
                  <c:v>0.40434773166547222</c:v>
                </c:pt>
                <c:pt idx="1437">
                  <c:v>0.3984178101372165</c:v>
                </c:pt>
                <c:pt idx="1438">
                  <c:v>0.41477258265672323</c:v>
                </c:pt>
                <c:pt idx="1439">
                  <c:v>0.39805528545631336</c:v>
                </c:pt>
                <c:pt idx="1440">
                  <c:v>0.39887607390843827</c:v>
                </c:pt>
                <c:pt idx="1441">
                  <c:v>0.38266808316891793</c:v>
                </c:pt>
                <c:pt idx="1442">
                  <c:v>0.37158335385373059</c:v>
                </c:pt>
                <c:pt idx="1443">
                  <c:v>0.31942185534108691</c:v>
                </c:pt>
                <c:pt idx="1444">
                  <c:v>0.29655728404646026</c:v>
                </c:pt>
                <c:pt idx="1445">
                  <c:v>0.2444407613049363</c:v>
                </c:pt>
                <c:pt idx="1446">
                  <c:v>0.20407302383351689</c:v>
                </c:pt>
                <c:pt idx="1447">
                  <c:v>0.13448069254767464</c:v>
                </c:pt>
                <c:pt idx="1448">
                  <c:v>0.10799714387718672</c:v>
                </c:pt>
                <c:pt idx="1449">
                  <c:v>0.10296043493789435</c:v>
                </c:pt>
                <c:pt idx="1450">
                  <c:v>0.13214635100763061</c:v>
                </c:pt>
                <c:pt idx="1451">
                  <c:v>0.21112741404608004</c:v>
                </c:pt>
                <c:pt idx="1452">
                  <c:v>0.32412368604032887</c:v>
                </c:pt>
                <c:pt idx="1453">
                  <c:v>0.41673310030457267</c:v>
                </c:pt>
                <c:pt idx="1454">
                  <c:v>0.47377185678601164</c:v>
                </c:pt>
                <c:pt idx="1455">
                  <c:v>0.53734644789966501</c:v>
                </c:pt>
                <c:pt idx="1456">
                  <c:v>0.51207397054080206</c:v>
                </c:pt>
                <c:pt idx="1457">
                  <c:v>0.46776772522112242</c:v>
                </c:pt>
                <c:pt idx="1458">
                  <c:v>0.48601527726486426</c:v>
                </c:pt>
                <c:pt idx="1459">
                  <c:v>0.55105318802862724</c:v>
                </c:pt>
                <c:pt idx="1460">
                  <c:v>0.60998135541776866</c:v>
                </c:pt>
                <c:pt idx="1461">
                  <c:v>0.67096157878794938</c:v>
                </c:pt>
                <c:pt idx="1462">
                  <c:v>0.77602167532174315</c:v>
                </c:pt>
                <c:pt idx="1463">
                  <c:v>0.91862518679527239</c:v>
                </c:pt>
                <c:pt idx="1464">
                  <c:v>0.99772064975908126</c:v>
                </c:pt>
                <c:pt idx="1465">
                  <c:v>1.0133074742652544</c:v>
                </c:pt>
                <c:pt idx="1466">
                  <c:v>1.02372788785387</c:v>
                </c:pt>
                <c:pt idx="1467">
                  <c:v>0.98089768777391573</c:v>
                </c:pt>
                <c:pt idx="1468">
                  <c:v>0.92561468107851297</c:v>
                </c:pt>
                <c:pt idx="1469">
                  <c:v>0.81231152303223131</c:v>
                </c:pt>
                <c:pt idx="1470">
                  <c:v>0.63818894864147668</c:v>
                </c:pt>
                <c:pt idx="1471">
                  <c:v>0.51577326452472105</c:v>
                </c:pt>
                <c:pt idx="1472">
                  <c:v>0.50874273110086221</c:v>
                </c:pt>
                <c:pt idx="1473">
                  <c:v>0.51835426451912026</c:v>
                </c:pt>
                <c:pt idx="1474">
                  <c:v>0.55379702343891224</c:v>
                </c:pt>
                <c:pt idx="1475">
                  <c:v>0.58875895277789014</c:v>
                </c:pt>
                <c:pt idx="1476">
                  <c:v>0.61771857270516839</c:v>
                </c:pt>
                <c:pt idx="1477">
                  <c:v>0.60860756254132098</c:v>
                </c:pt>
                <c:pt idx="1478">
                  <c:v>0.50867963061623156</c:v>
                </c:pt>
                <c:pt idx="1479">
                  <c:v>0.44162471395881009</c:v>
                </c:pt>
                <c:pt idx="1480">
                  <c:v>0.33341628396262701</c:v>
                </c:pt>
                <c:pt idx="1481">
                  <c:v>0.23927486115477314</c:v>
                </c:pt>
                <c:pt idx="1482">
                  <c:v>0.19797943279505101</c:v>
                </c:pt>
                <c:pt idx="1483">
                  <c:v>0.1988984612746989</c:v>
                </c:pt>
                <c:pt idx="1484">
                  <c:v>0.17968841239810338</c:v>
                </c:pt>
                <c:pt idx="1485">
                  <c:v>0.17475387660011524</c:v>
                </c:pt>
                <c:pt idx="1486">
                  <c:v>0.18865076155816149</c:v>
                </c:pt>
                <c:pt idx="1487">
                  <c:v>0.14811810042592646</c:v>
                </c:pt>
                <c:pt idx="1488">
                  <c:v>0.10177086874555738</c:v>
                </c:pt>
                <c:pt idx="1489">
                  <c:v>0.10123265068426671</c:v>
                </c:pt>
                <c:pt idx="1490">
                  <c:v>0.14448807206255981</c:v>
                </c:pt>
                <c:pt idx="1491">
                  <c:v>0.21513382314353191</c:v>
                </c:pt>
                <c:pt idx="1492">
                  <c:v>0.30164765525982257</c:v>
                </c:pt>
                <c:pt idx="1493">
                  <c:v>0.35562941420855831</c:v>
                </c:pt>
                <c:pt idx="1494">
                  <c:v>0.3717906269752882</c:v>
                </c:pt>
                <c:pt idx="1495">
                  <c:v>0.37816104702750675</c:v>
                </c:pt>
                <c:pt idx="1496">
                  <c:v>0.38230720203951557</c:v>
                </c:pt>
                <c:pt idx="1497">
                  <c:v>0.36578699112261431</c:v>
                </c:pt>
                <c:pt idx="1498">
                  <c:v>0.36232638478101414</c:v>
                </c:pt>
                <c:pt idx="1499">
                  <c:v>0.41375585163845879</c:v>
                </c:pt>
                <c:pt idx="1500">
                  <c:v>0.49496932515337422</c:v>
                </c:pt>
                <c:pt idx="1501">
                  <c:v>0.53951546365977454</c:v>
                </c:pt>
                <c:pt idx="1502">
                  <c:v>0.57155494894348402</c:v>
                </c:pt>
                <c:pt idx="1503">
                  <c:v>0.58316673836576671</c:v>
                </c:pt>
                <c:pt idx="1504">
                  <c:v>0.56858276977359601</c:v>
                </c:pt>
                <c:pt idx="1505">
                  <c:v>0.53011424973011878</c:v>
                </c:pt>
                <c:pt idx="1506">
                  <c:v>0.52083873757025512</c:v>
                </c:pt>
                <c:pt idx="1507">
                  <c:v>0.55705348692259748</c:v>
                </c:pt>
                <c:pt idx="1508">
                  <c:v>0.57397959183673464</c:v>
                </c:pt>
                <c:pt idx="1509">
                  <c:v>0.58177133994058738</c:v>
                </c:pt>
                <c:pt idx="1510">
                  <c:v>0.62241230392020275</c:v>
                </c:pt>
                <c:pt idx="1511">
                  <c:v>0.68968495027097854</c:v>
                </c:pt>
                <c:pt idx="1512">
                  <c:v>0.77151437419839219</c:v>
                </c:pt>
                <c:pt idx="1513">
                  <c:v>0.77605165579849122</c:v>
                </c:pt>
                <c:pt idx="1514">
                  <c:v>0.87676896167912233</c:v>
                </c:pt>
                <c:pt idx="1515">
                  <c:v>0.90950784412955465</c:v>
                </c:pt>
                <c:pt idx="1516">
                  <c:v>0.91731337767923138</c:v>
                </c:pt>
                <c:pt idx="1517">
                  <c:v>0.94934345259607267</c:v>
                </c:pt>
                <c:pt idx="1518">
                  <c:v>0.89388257521541226</c:v>
                </c:pt>
                <c:pt idx="1519">
                  <c:v>0.83647135898823599</c:v>
                </c:pt>
                <c:pt idx="1520">
                  <c:v>0.7434810867021967</c:v>
                </c:pt>
                <c:pt idx="1521">
                  <c:v>0.65310659923281777</c:v>
                </c:pt>
                <c:pt idx="1522">
                  <c:v>0.5924141658637464</c:v>
                </c:pt>
                <c:pt idx="1523">
                  <c:v>0.51960262140194058</c:v>
                </c:pt>
                <c:pt idx="1524">
                  <c:v>0.46282220753469933</c:v>
                </c:pt>
                <c:pt idx="1525">
                  <c:v>0.44751341681574242</c:v>
                </c:pt>
                <c:pt idx="1526">
                  <c:v>0.43454527966142453</c:v>
                </c:pt>
                <c:pt idx="1527">
                  <c:v>0.4067743033604046</c:v>
                </c:pt>
                <c:pt idx="1528">
                  <c:v>0.34358008203758461</c:v>
                </c:pt>
                <c:pt idx="1529">
                  <c:v>0.25063080062312126</c:v>
                </c:pt>
                <c:pt idx="1530">
                  <c:v>0.22316474948053894</c:v>
                </c:pt>
                <c:pt idx="1531">
                  <c:v>0.22317333454429861</c:v>
                </c:pt>
                <c:pt idx="1532">
                  <c:v>0.2834419690631384</c:v>
                </c:pt>
                <c:pt idx="1533">
                  <c:v>0.3517915309446254</c:v>
                </c:pt>
                <c:pt idx="1534">
                  <c:v>0.42127489585116706</c:v>
                </c:pt>
                <c:pt idx="1535">
                  <c:v>0.52948553251361097</c:v>
                </c:pt>
                <c:pt idx="1536">
                  <c:v>0.65070377479206654</c:v>
                </c:pt>
                <c:pt idx="1537">
                  <c:v>0.74531404143373892</c:v>
                </c:pt>
                <c:pt idx="1538">
                  <c:v>0.79982244434945582</c:v>
                </c:pt>
                <c:pt idx="1539">
                  <c:v>0.84008445671593301</c:v>
                </c:pt>
                <c:pt idx="1540">
                  <c:v>0.8742664226667507</c:v>
                </c:pt>
                <c:pt idx="1541">
                  <c:v>0.82119839749172618</c:v>
                </c:pt>
                <c:pt idx="1542">
                  <c:v>0.70520509670737297</c:v>
                </c:pt>
                <c:pt idx="1543">
                  <c:v>0.64946541339280128</c:v>
                </c:pt>
                <c:pt idx="1544">
                  <c:v>0.660551184215729</c:v>
                </c:pt>
                <c:pt idx="1545">
                  <c:v>0.66735108920958963</c:v>
                </c:pt>
                <c:pt idx="1546">
                  <c:v>0.67113761502848324</c:v>
                </c:pt>
                <c:pt idx="1547">
                  <c:v>0.68903418215186962</c:v>
                </c:pt>
                <c:pt idx="1548">
                  <c:v>0.68956417122676306</c:v>
                </c:pt>
                <c:pt idx="1549">
                  <c:v>0.67700938195183291</c:v>
                </c:pt>
                <c:pt idx="1550">
                  <c:v>0.69359650682630947</c:v>
                </c:pt>
                <c:pt idx="1551">
                  <c:v>0.70128827707990538</c:v>
                </c:pt>
                <c:pt idx="1552">
                  <c:v>0.698404404967646</c:v>
                </c:pt>
                <c:pt idx="1553">
                  <c:v>0.63820835505249829</c:v>
                </c:pt>
                <c:pt idx="1554">
                  <c:v>0.61320737207446308</c:v>
                </c:pt>
                <c:pt idx="1555">
                  <c:v>0.61941466468424755</c:v>
                </c:pt>
                <c:pt idx="1556">
                  <c:v>0.64856061086786376</c:v>
                </c:pt>
                <c:pt idx="1557">
                  <c:v>0.67010262464807913</c:v>
                </c:pt>
                <c:pt idx="1558">
                  <c:v>0.68918554145910527</c:v>
                </c:pt>
                <c:pt idx="1559">
                  <c:v>0.68723911747167554</c:v>
                </c:pt>
                <c:pt idx="1560">
                  <c:v>0.65477439664218262</c:v>
                </c:pt>
                <c:pt idx="1561">
                  <c:v>0.60890035085614902</c:v>
                </c:pt>
                <c:pt idx="1562">
                  <c:v>0.55752535867677966</c:v>
                </c:pt>
                <c:pt idx="1563">
                  <c:v>0.52854083817681252</c:v>
                </c:pt>
                <c:pt idx="1564">
                  <c:v>0.50434133969864237</c:v>
                </c:pt>
                <c:pt idx="1565">
                  <c:v>0.42692053709002864</c:v>
                </c:pt>
                <c:pt idx="1566">
                  <c:v>0.33745122035698616</c:v>
                </c:pt>
                <c:pt idx="1567">
                  <c:v>0.26784815225052866</c:v>
                </c:pt>
                <c:pt idx="1568">
                  <c:v>0.21802314331049963</c:v>
                </c:pt>
                <c:pt idx="1569">
                  <c:v>0.19003476245654694</c:v>
                </c:pt>
                <c:pt idx="1570">
                  <c:v>0.1482490568913615</c:v>
                </c:pt>
                <c:pt idx="1571">
                  <c:v>9.6107289705260723E-2</c:v>
                </c:pt>
                <c:pt idx="1572">
                  <c:v>7.3907757471174201E-2</c:v>
                </c:pt>
                <c:pt idx="1573">
                  <c:v>6.6695479637742375E-2</c:v>
                </c:pt>
                <c:pt idx="1574">
                  <c:v>6.2760667308309273E-2</c:v>
                </c:pt>
                <c:pt idx="1575">
                  <c:v>5.5639128732458222E-2</c:v>
                </c:pt>
                <c:pt idx="1576">
                  <c:v>5.2534448818897635E-2</c:v>
                </c:pt>
                <c:pt idx="1577">
                  <c:v>4.4791646598724644E-2</c:v>
                </c:pt>
                <c:pt idx="1578">
                  <c:v>3.0759917519532359E-2</c:v>
                </c:pt>
                <c:pt idx="1579">
                  <c:v>2.6212061489948757E-2</c:v>
                </c:pt>
                <c:pt idx="1580">
                  <c:v>2.0387574088864602E-2</c:v>
                </c:pt>
                <c:pt idx="1581">
                  <c:v>1.6881939723544074E-2</c:v>
                </c:pt>
                <c:pt idx="1582">
                  <c:v>1.3158544413173356E-2</c:v>
                </c:pt>
                <c:pt idx="1583">
                  <c:v>2.6208203600920535E-2</c:v>
                </c:pt>
                <c:pt idx="1584">
                  <c:v>3.5523001650212785E-2</c:v>
                </c:pt>
                <c:pt idx="1585">
                  <c:v>4.389923198756835E-2</c:v>
                </c:pt>
                <c:pt idx="1586">
                  <c:v>6.8665377176015466E-2</c:v>
                </c:pt>
                <c:pt idx="1587">
                  <c:v>7.5416465475615646E-2</c:v>
                </c:pt>
                <c:pt idx="1588">
                  <c:v>5.8262461611150479E-2</c:v>
                </c:pt>
                <c:pt idx="1589">
                  <c:v>9.7036432843936912E-2</c:v>
                </c:pt>
                <c:pt idx="1590">
                  <c:v>0.12716749782678319</c:v>
                </c:pt>
                <c:pt idx="1591">
                  <c:v>0.16607566209397986</c:v>
                </c:pt>
                <c:pt idx="1592">
                  <c:v>0.20247274143302182</c:v>
                </c:pt>
                <c:pt idx="1593">
                  <c:v>0.25692990864453535</c:v>
                </c:pt>
                <c:pt idx="1594">
                  <c:v>0.31482407229378967</c:v>
                </c:pt>
                <c:pt idx="1595">
                  <c:v>0.37718921032056296</c:v>
                </c:pt>
                <c:pt idx="1596">
                  <c:v>0.43163399736516428</c:v>
                </c:pt>
                <c:pt idx="1597">
                  <c:v>0.46895711890122177</c:v>
                </c:pt>
                <c:pt idx="1598">
                  <c:v>0.46740198536047323</c:v>
                </c:pt>
                <c:pt idx="1599">
                  <c:v>0.50197977145436268</c:v>
                </c:pt>
                <c:pt idx="1600">
                  <c:v>0.52141432235476115</c:v>
                </c:pt>
                <c:pt idx="1601">
                  <c:v>0.48507434235608088</c:v>
                </c:pt>
                <c:pt idx="1602">
                  <c:v>0.46762357414448663</c:v>
                </c:pt>
                <c:pt idx="1603">
                  <c:v>0.44718409081759991</c:v>
                </c:pt>
                <c:pt idx="1604">
                  <c:v>0.41752487724329723</c:v>
                </c:pt>
                <c:pt idx="1605">
                  <c:v>0.4070450555880632</c:v>
                </c:pt>
                <c:pt idx="1606">
                  <c:v>0.40846330861672209</c:v>
                </c:pt>
                <c:pt idx="1607">
                  <c:v>0.44901774751646389</c:v>
                </c:pt>
                <c:pt idx="1608">
                  <c:v>0.52776296296296299</c:v>
                </c:pt>
                <c:pt idx="1609">
                  <c:v>0.56060420743639927</c:v>
                </c:pt>
                <c:pt idx="1610">
                  <c:v>0.52008935496881881</c:v>
                </c:pt>
                <c:pt idx="1611">
                  <c:v>0.49821263482280426</c:v>
                </c:pt>
                <c:pt idx="1612">
                  <c:v>0.46336338165428193</c:v>
                </c:pt>
                <c:pt idx="1613">
                  <c:v>0.43959911038540578</c:v>
                </c:pt>
                <c:pt idx="1614">
                  <c:v>0.33221011375585507</c:v>
                </c:pt>
                <c:pt idx="1615">
                  <c:v>0.24309357365451023</c:v>
                </c:pt>
                <c:pt idx="1616">
                  <c:v>0.20255183413078148</c:v>
                </c:pt>
                <c:pt idx="1617">
                  <c:v>0.21426119267351926</c:v>
                </c:pt>
                <c:pt idx="1618">
                  <c:v>0.22598078462770216</c:v>
                </c:pt>
                <c:pt idx="1619">
                  <c:v>0.24081772683241848</c:v>
                </c:pt>
                <c:pt idx="1620">
                  <c:v>0.30203844879018893</c:v>
                </c:pt>
                <c:pt idx="1621">
                  <c:v>0.32572953074266331</c:v>
                </c:pt>
                <c:pt idx="1622">
                  <c:v>0.32624811526218789</c:v>
                </c:pt>
                <c:pt idx="1623">
                  <c:v>0.24934417064464795</c:v>
                </c:pt>
                <c:pt idx="1624">
                  <c:v>0.21241927260367097</c:v>
                </c:pt>
                <c:pt idx="1625">
                  <c:v>0.20655607430217543</c:v>
                </c:pt>
                <c:pt idx="1626">
                  <c:v>0.23063186813186812</c:v>
                </c:pt>
                <c:pt idx="1627">
                  <c:v>0.24773915207832078</c:v>
                </c:pt>
                <c:pt idx="1628">
                  <c:v>0.26625725770433234</c:v>
                </c:pt>
                <c:pt idx="1629">
                  <c:v>0.33777153201219512</c:v>
                </c:pt>
                <c:pt idx="1630">
                  <c:v>0.46576336174512289</c:v>
                </c:pt>
                <c:pt idx="1631">
                  <c:v>0.60567566809680029</c:v>
                </c:pt>
                <c:pt idx="1632">
                  <c:v>0.77144294209887876</c:v>
                </c:pt>
                <c:pt idx="1633">
                  <c:v>0.87042484155623623</c:v>
                </c:pt>
                <c:pt idx="1634">
                  <c:v>0.91022073826748284</c:v>
                </c:pt>
                <c:pt idx="1635">
                  <c:v>0.92919640086875577</c:v>
                </c:pt>
                <c:pt idx="1636">
                  <c:v>0.91334546557476504</c:v>
                </c:pt>
                <c:pt idx="1637">
                  <c:v>0.86375270722583197</c:v>
                </c:pt>
                <c:pt idx="1638">
                  <c:v>0.72181633443003668</c:v>
                </c:pt>
                <c:pt idx="1639">
                  <c:v>0.62093685134065169</c:v>
                </c:pt>
                <c:pt idx="1640">
                  <c:v>0.58121696929815536</c:v>
                </c:pt>
                <c:pt idx="1641">
                  <c:v>0.55655780196993265</c:v>
                </c:pt>
                <c:pt idx="1642">
                  <c:v>0.54063618866284491</c:v>
                </c:pt>
                <c:pt idx="1643">
                  <c:v>0.51005349176480541</c:v>
                </c:pt>
                <c:pt idx="1644">
                  <c:v>0.44973976711362035</c:v>
                </c:pt>
                <c:pt idx="1645">
                  <c:v>0.3826780626780627</c:v>
                </c:pt>
                <c:pt idx="1646">
                  <c:v>0.34529776468631967</c:v>
                </c:pt>
                <c:pt idx="1647">
                  <c:v>0.30769042250759726</c:v>
                </c:pt>
                <c:pt idx="1648">
                  <c:v>0.24770354654386773</c:v>
                </c:pt>
                <c:pt idx="1649">
                  <c:v>0.15163199426111906</c:v>
                </c:pt>
                <c:pt idx="1650">
                  <c:v>0.11980810234541579</c:v>
                </c:pt>
                <c:pt idx="1651">
                  <c:v>0.12579120977088348</c:v>
                </c:pt>
                <c:pt idx="1652">
                  <c:v>0.13722226243033941</c:v>
                </c:pt>
                <c:pt idx="1653">
                  <c:v>0.14676014227537504</c:v>
                </c:pt>
                <c:pt idx="1654">
                  <c:v>0.14445273838157638</c:v>
                </c:pt>
                <c:pt idx="1655">
                  <c:v>0.12398052161443551</c:v>
                </c:pt>
                <c:pt idx="1656">
                  <c:v>9.4775212636695014E-2</c:v>
                </c:pt>
                <c:pt idx="1657">
                  <c:v>7.3217467307627668E-2</c:v>
                </c:pt>
                <c:pt idx="1658">
                  <c:v>6.8218602568958994E-2</c:v>
                </c:pt>
                <c:pt idx="1659">
                  <c:v>6.0463001818436148E-2</c:v>
                </c:pt>
                <c:pt idx="1660">
                  <c:v>4.8696916208078075E-2</c:v>
                </c:pt>
                <c:pt idx="1661">
                  <c:v>4.085143705302928E-2</c:v>
                </c:pt>
                <c:pt idx="1662">
                  <c:v>4.1759413110950869E-2</c:v>
                </c:pt>
                <c:pt idx="1663">
                  <c:v>4.0874906711062635E-2</c:v>
                </c:pt>
                <c:pt idx="1664">
                  <c:v>4.6190588667558985E-2</c:v>
                </c:pt>
                <c:pt idx="1665">
                  <c:v>4.7907669772962604E-2</c:v>
                </c:pt>
                <c:pt idx="1666">
                  <c:v>5.0688828990715779E-2</c:v>
                </c:pt>
                <c:pt idx="1667">
                  <c:v>5.2270583135725031E-2</c:v>
                </c:pt>
                <c:pt idx="1668">
                  <c:v>5.944231531650588E-2</c:v>
                </c:pt>
                <c:pt idx="1669">
                  <c:v>5.6856006278245344E-2</c:v>
                </c:pt>
                <c:pt idx="1670">
                  <c:v>6.3641968389194031E-2</c:v>
                </c:pt>
                <c:pt idx="1671">
                  <c:v>7.129726519415143E-2</c:v>
                </c:pt>
                <c:pt idx="1672">
                  <c:v>7.6830469519535954E-2</c:v>
                </c:pt>
                <c:pt idx="1673">
                  <c:v>6.9267671822988056E-2</c:v>
                </c:pt>
                <c:pt idx="1674">
                  <c:v>9.4427600147004756E-2</c:v>
                </c:pt>
                <c:pt idx="1675">
                  <c:v>0.16139134592397802</c:v>
                </c:pt>
                <c:pt idx="1676">
                  <c:v>0.22355911679076598</c:v>
                </c:pt>
                <c:pt idx="1677">
                  <c:v>0.25563641356583827</c:v>
                </c:pt>
                <c:pt idx="1678">
                  <c:v>0.27049808429118771</c:v>
                </c:pt>
                <c:pt idx="1679">
                  <c:v>0.2940880977049386</c:v>
                </c:pt>
                <c:pt idx="1680">
                  <c:v>0.31891820406004101</c:v>
                </c:pt>
                <c:pt idx="1681">
                  <c:v>0.30887047476737078</c:v>
                </c:pt>
                <c:pt idx="1682">
                  <c:v>0.32557819856352455</c:v>
                </c:pt>
                <c:pt idx="1683">
                  <c:v>0.33653016869631214</c:v>
                </c:pt>
                <c:pt idx="1684">
                  <c:v>0.34160070960698696</c:v>
                </c:pt>
                <c:pt idx="1685">
                  <c:v>0.36351535722604911</c:v>
                </c:pt>
                <c:pt idx="1686">
                  <c:v>0.36760769819016059</c:v>
                </c:pt>
                <c:pt idx="1687">
                  <c:v>0.36554064021242072</c:v>
                </c:pt>
                <c:pt idx="1688">
                  <c:v>0.35073678518318241</c:v>
                </c:pt>
                <c:pt idx="1689">
                  <c:v>0.36075834777435795</c:v>
                </c:pt>
                <c:pt idx="1690">
                  <c:v>0.38583917861136524</c:v>
                </c:pt>
                <c:pt idx="1691">
                  <c:v>0.42087791425142362</c:v>
                </c:pt>
                <c:pt idx="1692">
                  <c:v>0.44118179233334198</c:v>
                </c:pt>
                <c:pt idx="1693">
                  <c:v>0.42294105240957502</c:v>
                </c:pt>
                <c:pt idx="1694">
                  <c:v>0.41091410346505219</c:v>
                </c:pt>
                <c:pt idx="1695">
                  <c:v>0.40012465786835044</c:v>
                </c:pt>
                <c:pt idx="1696">
                  <c:v>0.39728330837340065</c:v>
                </c:pt>
                <c:pt idx="1697">
                  <c:v>0.36844851301996867</c:v>
                </c:pt>
                <c:pt idx="1698">
                  <c:v>0.36728353370255307</c:v>
                </c:pt>
                <c:pt idx="1699">
                  <c:v>0.39077456647398839</c:v>
                </c:pt>
                <c:pt idx="1700">
                  <c:v>0.41527351864675038</c:v>
                </c:pt>
                <c:pt idx="1701">
                  <c:v>0.42070724514466384</c:v>
                </c:pt>
                <c:pt idx="1702">
                  <c:v>0.43455859071414177</c:v>
                </c:pt>
                <c:pt idx="1703">
                  <c:v>0.42113295079965818</c:v>
                </c:pt>
                <c:pt idx="1704">
                  <c:v>0.4135141185123597</c:v>
                </c:pt>
                <c:pt idx="1705">
                  <c:v>0.34814253721512312</c:v>
                </c:pt>
                <c:pt idx="1706">
                  <c:v>0.292716065747614</c:v>
                </c:pt>
                <c:pt idx="1707">
                  <c:v>0.28068965517241379</c:v>
                </c:pt>
                <c:pt idx="1708">
                  <c:v>0.26732229234071181</c:v>
                </c:pt>
                <c:pt idx="1709">
                  <c:v>0.24439606989468735</c:v>
                </c:pt>
                <c:pt idx="1710">
                  <c:v>0.19135497878219676</c:v>
                </c:pt>
                <c:pt idx="1711">
                  <c:v>0.15685811753094894</c:v>
                </c:pt>
                <c:pt idx="1712">
                  <c:v>0.14237204925745611</c:v>
                </c:pt>
                <c:pt idx="1713">
                  <c:v>0.12349668657449069</c:v>
                </c:pt>
                <c:pt idx="1714">
                  <c:v>0.10670670267220184</c:v>
                </c:pt>
                <c:pt idx="1715">
                  <c:v>0.11723998381222177</c:v>
                </c:pt>
                <c:pt idx="1716">
                  <c:v>0.12414649286157665</c:v>
                </c:pt>
                <c:pt idx="1717">
                  <c:v>0.14922039700265086</c:v>
                </c:pt>
                <c:pt idx="1718">
                  <c:v>0.16369660797349248</c:v>
                </c:pt>
                <c:pt idx="1719">
                  <c:v>0.18350655615489189</c:v>
                </c:pt>
                <c:pt idx="1720">
                  <c:v>0.13994502473886752</c:v>
                </c:pt>
                <c:pt idx="1721">
                  <c:v>0.12049501096154241</c:v>
                </c:pt>
                <c:pt idx="1722">
                  <c:v>0.12114426355181666</c:v>
                </c:pt>
                <c:pt idx="1723">
                  <c:v>0.11350322202694785</c:v>
                </c:pt>
                <c:pt idx="1724">
                  <c:v>0.13902565140172207</c:v>
                </c:pt>
                <c:pt idx="1725">
                  <c:v>0.1540050549236901</c:v>
                </c:pt>
                <c:pt idx="1726">
                  <c:v>0.16583089753559838</c:v>
                </c:pt>
                <c:pt idx="1727">
                  <c:v>0.19802769494227762</c:v>
                </c:pt>
                <c:pt idx="1728">
                  <c:v>0.17991579603929517</c:v>
                </c:pt>
                <c:pt idx="1729">
                  <c:v>0.17876897350141496</c:v>
                </c:pt>
                <c:pt idx="1730">
                  <c:v>0.22833181046860726</c:v>
                </c:pt>
                <c:pt idx="1731">
                  <c:v>0.25704168155680457</c:v>
                </c:pt>
                <c:pt idx="1732">
                  <c:v>0.24399936417103799</c:v>
                </c:pt>
                <c:pt idx="1733">
                  <c:v>0.22435747663551403</c:v>
                </c:pt>
                <c:pt idx="1734">
                  <c:v>0.22097008852612629</c:v>
                </c:pt>
                <c:pt idx="1735">
                  <c:v>0.24457978597928415</c:v>
                </c:pt>
                <c:pt idx="1736">
                  <c:v>0.32473241982866652</c:v>
                </c:pt>
                <c:pt idx="1737">
                  <c:v>0.4251458600571027</c:v>
                </c:pt>
                <c:pt idx="1738">
                  <c:v>0.53075639943161934</c:v>
                </c:pt>
                <c:pt idx="1739">
                  <c:v>0.60746460746460751</c:v>
                </c:pt>
                <c:pt idx="1740">
                  <c:v>0.69471291713575634</c:v>
                </c:pt>
                <c:pt idx="1741">
                  <c:v>0.74670574097109488</c:v>
                </c:pt>
                <c:pt idx="1742">
                  <c:v>0.79557117002022781</c:v>
                </c:pt>
                <c:pt idx="1743">
                  <c:v>0.81579980801117025</c:v>
                </c:pt>
                <c:pt idx="1744">
                  <c:v>0.8233362331448455</c:v>
                </c:pt>
                <c:pt idx="1745">
                  <c:v>0.76347378735913762</c:v>
                </c:pt>
                <c:pt idx="1746">
                  <c:v>0.74530452500554789</c:v>
                </c:pt>
                <c:pt idx="1747">
                  <c:v>0.72786749482401669</c:v>
                </c:pt>
                <c:pt idx="1748">
                  <c:v>0.7899621169666674</c:v>
                </c:pt>
                <c:pt idx="1749">
                  <c:v>0.88645322565137974</c:v>
                </c:pt>
                <c:pt idx="1750">
                  <c:v>1.0183847329034932</c:v>
                </c:pt>
                <c:pt idx="1751">
                  <c:v>1.1304097100175745</c:v>
                </c:pt>
                <c:pt idx="1752">
                  <c:v>1.1190660831994683</c:v>
                </c:pt>
                <c:pt idx="1753">
                  <c:v>1.0697540629943909</c:v>
                </c:pt>
                <c:pt idx="1754">
                  <c:v>1.1027938541085225</c:v>
                </c:pt>
                <c:pt idx="1755">
                  <c:v>1.189004336563928</c:v>
                </c:pt>
                <c:pt idx="1756">
                  <c:v>1.1872612191366825</c:v>
                </c:pt>
                <c:pt idx="1757">
                  <c:v>1.1253706293706294</c:v>
                </c:pt>
                <c:pt idx="1758">
                  <c:v>0.93828837570347379</c:v>
                </c:pt>
                <c:pt idx="1759">
                  <c:v>0.80589288410517446</c:v>
                </c:pt>
                <c:pt idx="1760">
                  <c:v>0.80278693312194938</c:v>
                </c:pt>
                <c:pt idx="1761">
                  <c:v>0.83215647066175102</c:v>
                </c:pt>
                <c:pt idx="1762">
                  <c:v>0.85313183863908493</c:v>
                </c:pt>
                <c:pt idx="1763">
                  <c:v>0.86489693941286705</c:v>
                </c:pt>
                <c:pt idx="1764">
                  <c:v>0.86932783820530257</c:v>
                </c:pt>
                <c:pt idx="1765">
                  <c:v>0.8638679828582394</c:v>
                </c:pt>
                <c:pt idx="1766">
                  <c:v>0.87890822125194734</c:v>
                </c:pt>
                <c:pt idx="1767">
                  <c:v>0.89530775289749065</c:v>
                </c:pt>
                <c:pt idx="1768">
                  <c:v>0.85405817920632077</c:v>
                </c:pt>
                <c:pt idx="1769">
                  <c:v>0.7556582083570631</c:v>
                </c:pt>
                <c:pt idx="1770">
                  <c:v>0.67951398232286642</c:v>
                </c:pt>
                <c:pt idx="1771">
                  <c:v>0.66236139112903225</c:v>
                </c:pt>
                <c:pt idx="1772">
                  <c:v>0.70930206488352809</c:v>
                </c:pt>
                <c:pt idx="1773">
                  <c:v>0.75560715226081332</c:v>
                </c:pt>
                <c:pt idx="1774">
                  <c:v>0.80495234093952683</c:v>
                </c:pt>
                <c:pt idx="1775">
                  <c:v>0.85370879120879128</c:v>
                </c:pt>
                <c:pt idx="1776">
                  <c:v>0.88413574412293805</c:v>
                </c:pt>
                <c:pt idx="1777">
                  <c:v>0.82777602024675734</c:v>
                </c:pt>
                <c:pt idx="1778">
                  <c:v>0.75990743419149553</c:v>
                </c:pt>
                <c:pt idx="1779">
                  <c:v>0.73414852180575962</c:v>
                </c:pt>
                <c:pt idx="1780">
                  <c:v>0.66974921630094042</c:v>
                </c:pt>
                <c:pt idx="1781">
                  <c:v>0.58297479137189212</c:v>
                </c:pt>
                <c:pt idx="1782">
                  <c:v>0.4854556726596404</c:v>
                </c:pt>
                <c:pt idx="1783">
                  <c:v>0.39540229885057471</c:v>
                </c:pt>
                <c:pt idx="1784">
                  <c:v>0.33431219410600854</c:v>
                </c:pt>
                <c:pt idx="1785">
                  <c:v>0.29916880194987816</c:v>
                </c:pt>
                <c:pt idx="1786">
                  <c:v>0.25959969429698637</c:v>
                </c:pt>
                <c:pt idx="1787">
                  <c:v>0.2653241402505675</c:v>
                </c:pt>
                <c:pt idx="1788">
                  <c:v>0.33507989434027624</c:v>
                </c:pt>
                <c:pt idx="1789">
                  <c:v>0.50478629881265058</c:v>
                </c:pt>
                <c:pt idx="1790">
                  <c:v>0.65265784766237489</c:v>
                </c:pt>
                <c:pt idx="1791">
                  <c:v>0.7549661269950626</c:v>
                </c:pt>
                <c:pt idx="1792">
                  <c:v>0.74798446619580761</c:v>
                </c:pt>
                <c:pt idx="1793">
                  <c:v>0.68168097450279375</c:v>
                </c:pt>
                <c:pt idx="1794">
                  <c:v>0.68043915521287313</c:v>
                </c:pt>
                <c:pt idx="1795">
                  <c:v>0.74556010928961747</c:v>
                </c:pt>
                <c:pt idx="1796">
                  <c:v>0.82007218905359691</c:v>
                </c:pt>
                <c:pt idx="1797">
                  <c:v>0.90786178051212219</c:v>
                </c:pt>
                <c:pt idx="1798">
                  <c:v>1.0197567581921505</c:v>
                </c:pt>
                <c:pt idx="1799">
                  <c:v>1.1438084484206259</c:v>
                </c:pt>
                <c:pt idx="1800">
                  <c:v>1.2071446063425981</c:v>
                </c:pt>
                <c:pt idx="1801">
                  <c:v>1.0375091621785271</c:v>
                </c:pt>
                <c:pt idx="1802">
                  <c:v>0.88084939048368061</c:v>
                </c:pt>
                <c:pt idx="1803">
                  <c:v>0.84550552585839367</c:v>
                </c:pt>
                <c:pt idx="1804">
                  <c:v>0.86611995804329167</c:v>
                </c:pt>
                <c:pt idx="1805">
                  <c:v>0.84369496301514635</c:v>
                </c:pt>
                <c:pt idx="1806">
                  <c:v>0.77646030953569645</c:v>
                </c:pt>
                <c:pt idx="1807">
                  <c:v>0.70101014527685868</c:v>
                </c:pt>
                <c:pt idx="1808">
                  <c:v>0.73548563266677869</c:v>
                </c:pt>
                <c:pt idx="1809">
                  <c:v>0.78907205194148144</c:v>
                </c:pt>
                <c:pt idx="1810">
                  <c:v>0.82296950341286257</c:v>
                </c:pt>
                <c:pt idx="1811">
                  <c:v>0.82342672051152621</c:v>
                </c:pt>
                <c:pt idx="1812">
                  <c:v>0.86680847406643469</c:v>
                </c:pt>
                <c:pt idx="1813">
                  <c:v>0.89800091361945567</c:v>
                </c:pt>
                <c:pt idx="1814">
                  <c:v>0.91543952590464217</c:v>
                </c:pt>
                <c:pt idx="1815">
                  <c:v>0.87595059224777638</c:v>
                </c:pt>
                <c:pt idx="1816">
                  <c:v>0.81394445966931572</c:v>
                </c:pt>
                <c:pt idx="1817">
                  <c:v>0.68811473634039599</c:v>
                </c:pt>
                <c:pt idx="1818">
                  <c:v>0.61092768132921504</c:v>
                </c:pt>
                <c:pt idx="1819">
                  <c:v>0.51133467768741558</c:v>
                </c:pt>
                <c:pt idx="1820">
                  <c:v>0.44335034380315774</c:v>
                </c:pt>
                <c:pt idx="1821">
                  <c:v>0.4753644015602545</c:v>
                </c:pt>
                <c:pt idx="1822">
                  <c:v>0.46555358331484364</c:v>
                </c:pt>
                <c:pt idx="1823">
                  <c:v>0.52169534697746056</c:v>
                </c:pt>
                <c:pt idx="1824">
                  <c:v>0.53550621949299326</c:v>
                </c:pt>
                <c:pt idx="1825">
                  <c:v>0.52002617801047124</c:v>
                </c:pt>
                <c:pt idx="1826">
                  <c:v>0.56140234827187041</c:v>
                </c:pt>
                <c:pt idx="1827">
                  <c:v>0.5199298733088551</c:v>
                </c:pt>
                <c:pt idx="1828">
                  <c:v>0.48872772618383481</c:v>
                </c:pt>
                <c:pt idx="1829">
                  <c:v>0.51435146710988944</c:v>
                </c:pt>
                <c:pt idx="1830">
                  <c:v>0.57467926876240705</c:v>
                </c:pt>
                <c:pt idx="1831">
                  <c:v>0.5453980435605037</c:v>
                </c:pt>
                <c:pt idx="1832">
                  <c:v>0.51264983422596277</c:v>
                </c:pt>
                <c:pt idx="1833">
                  <c:v>0.59246365441663196</c:v>
                </c:pt>
                <c:pt idx="1834">
                  <c:v>0.73437896436397188</c:v>
                </c:pt>
                <c:pt idx="1835">
                  <c:v>0.81649563245233892</c:v>
                </c:pt>
                <c:pt idx="1836">
                  <c:v>0.8964647049290394</c:v>
                </c:pt>
                <c:pt idx="1837">
                  <c:v>0.92165259204325256</c:v>
                </c:pt>
                <c:pt idx="1838">
                  <c:v>1.0356804795961296</c:v>
                </c:pt>
                <c:pt idx="1839">
                  <c:v>1.0148430421574375</c:v>
                </c:pt>
                <c:pt idx="1840">
                  <c:v>0.98803177589631019</c:v>
                </c:pt>
                <c:pt idx="1841">
                  <c:v>0.8380881362455499</c:v>
                </c:pt>
                <c:pt idx="1842">
                  <c:v>0.65653338345158097</c:v>
                </c:pt>
                <c:pt idx="1843">
                  <c:v>0.54901445466491461</c:v>
                </c:pt>
                <c:pt idx="1844">
                  <c:v>0.54837311301509584</c:v>
                </c:pt>
                <c:pt idx="1845">
                  <c:v>0.55044800434428465</c:v>
                </c:pt>
                <c:pt idx="1846">
                  <c:v>0.50800011531697753</c:v>
                </c:pt>
                <c:pt idx="1847">
                  <c:v>0.42323232323232324</c:v>
                </c:pt>
                <c:pt idx="1848">
                  <c:v>0.37710776828356996</c:v>
                </c:pt>
                <c:pt idx="1849">
                  <c:v>0.30741586619197958</c:v>
                </c:pt>
                <c:pt idx="1850">
                  <c:v>0.21807458921388151</c:v>
                </c:pt>
                <c:pt idx="1851">
                  <c:v>0.12187052322805102</c:v>
                </c:pt>
                <c:pt idx="1852">
                  <c:v>5.9397582224623498E-2</c:v>
                </c:pt>
                <c:pt idx="1853">
                  <c:v>7.8133727616231316E-2</c:v>
                </c:pt>
                <c:pt idx="1854">
                  <c:v>0.15651619078002871</c:v>
                </c:pt>
                <c:pt idx="1855">
                  <c:v>0.22175327530115185</c:v>
                </c:pt>
                <c:pt idx="1856">
                  <c:v>0.2488780199403402</c:v>
                </c:pt>
                <c:pt idx="1857">
                  <c:v>0.30799663084815848</c:v>
                </c:pt>
                <c:pt idx="1858">
                  <c:v>0.38134725379024403</c:v>
                </c:pt>
                <c:pt idx="1859">
                  <c:v>0.4785762023812471</c:v>
                </c:pt>
                <c:pt idx="1860">
                  <c:v>0.58581672911342153</c:v>
                </c:pt>
                <c:pt idx="1861">
                  <c:v>0.58485360640254502</c:v>
                </c:pt>
                <c:pt idx="1862">
                  <c:v>0.56980305256081465</c:v>
                </c:pt>
                <c:pt idx="1863">
                  <c:v>0.63230845524423507</c:v>
                </c:pt>
                <c:pt idx="1864">
                  <c:v>0.63780379336041737</c:v>
                </c:pt>
                <c:pt idx="1865">
                  <c:v>0.53529411764705881</c:v>
                </c:pt>
                <c:pt idx="1866">
                  <c:v>0.4423549708863489</c:v>
                </c:pt>
                <c:pt idx="1867">
                  <c:v>0.43091193562807334</c:v>
                </c:pt>
                <c:pt idx="1868">
                  <c:v>0.4716855111874434</c:v>
                </c:pt>
                <c:pt idx="1869">
                  <c:v>0.5423240639257767</c:v>
                </c:pt>
                <c:pt idx="1870">
                  <c:v>0.6037714888771627</c:v>
                </c:pt>
                <c:pt idx="1871">
                  <c:v>0.60685272340297969</c:v>
                </c:pt>
                <c:pt idx="1872">
                  <c:v>0.5885512099576673</c:v>
                </c:pt>
                <c:pt idx="1873">
                  <c:v>0.54646153846153844</c:v>
                </c:pt>
                <c:pt idx="1874">
                  <c:v>0.53730156099824333</c:v>
                </c:pt>
                <c:pt idx="1875">
                  <c:v>0.51292200994504056</c:v>
                </c:pt>
                <c:pt idx="1876">
                  <c:v>0.38380896913220736</c:v>
                </c:pt>
                <c:pt idx="1877">
                  <c:v>0.24936800288912964</c:v>
                </c:pt>
                <c:pt idx="1878">
                  <c:v>0.14262424535751586</c:v>
                </c:pt>
                <c:pt idx="1879">
                  <c:v>8.9469065379552432E-2</c:v>
                </c:pt>
                <c:pt idx="1880">
                  <c:v>9.3408427200667485E-2</c:v>
                </c:pt>
                <c:pt idx="1881">
                  <c:v>8.9173836772199491E-2</c:v>
                </c:pt>
                <c:pt idx="1882">
                  <c:v>9.9231568016614743E-2</c:v>
                </c:pt>
                <c:pt idx="1883">
                  <c:v>0.12824053731718035</c:v>
                </c:pt>
                <c:pt idx="1884">
                  <c:v>0.20224142356061253</c:v>
                </c:pt>
                <c:pt idx="1885">
                  <c:v>0.23496929899368924</c:v>
                </c:pt>
                <c:pt idx="1886">
                  <c:v>0.23001293661060801</c:v>
                </c:pt>
                <c:pt idx="1887">
                  <c:v>0.29514417455379793</c:v>
                </c:pt>
                <c:pt idx="1888">
                  <c:v>0.38366208149493902</c:v>
                </c:pt>
                <c:pt idx="1889">
                  <c:v>0.42981575884076584</c:v>
                </c:pt>
                <c:pt idx="1890">
                  <c:v>0.49592665986108608</c:v>
                </c:pt>
                <c:pt idx="1891">
                  <c:v>0.54652269248272711</c:v>
                </c:pt>
                <c:pt idx="1892">
                  <c:v>0.62340068825553696</c:v>
                </c:pt>
                <c:pt idx="1893">
                  <c:v>0.7594305708670851</c:v>
                </c:pt>
                <c:pt idx="1894">
                  <c:v>0.89877605028117769</c:v>
                </c:pt>
                <c:pt idx="1895">
                  <c:v>1.0005454049631852</c:v>
                </c:pt>
                <c:pt idx="1896">
                  <c:v>1.0317208097928436</c:v>
                </c:pt>
                <c:pt idx="1897">
                  <c:v>1.0093857168642077</c:v>
                </c:pt>
                <c:pt idx="1898">
                  <c:v>1.0228957900288522</c:v>
                </c:pt>
                <c:pt idx="1899">
                  <c:v>0.9769392682473842</c:v>
                </c:pt>
                <c:pt idx="1900">
                  <c:v>0.87557101800030246</c:v>
                </c:pt>
                <c:pt idx="1901">
                  <c:v>0.81477076430776207</c:v>
                </c:pt>
                <c:pt idx="1902">
                  <c:v>0.7109007076460292</c:v>
                </c:pt>
                <c:pt idx="1903">
                  <c:v>0.60924241098766518</c:v>
                </c:pt>
                <c:pt idx="1904">
                  <c:v>0.62197802197802199</c:v>
                </c:pt>
                <c:pt idx="1905">
                  <c:v>0.70451224934888945</c:v>
                </c:pt>
                <c:pt idx="1906">
                  <c:v>0.75021200024819557</c:v>
                </c:pt>
                <c:pt idx="1907">
                  <c:v>0.79712535829913611</c:v>
                </c:pt>
                <c:pt idx="1908">
                  <c:v>0.83208790283537148</c:v>
                </c:pt>
                <c:pt idx="1909">
                  <c:v>0.83576862949452835</c:v>
                </c:pt>
                <c:pt idx="1910">
                  <c:v>0.87972268159267264</c:v>
                </c:pt>
                <c:pt idx="1911">
                  <c:v>0.91795181502491197</c:v>
                </c:pt>
                <c:pt idx="1912">
                  <c:v>0.94727194306663787</c:v>
                </c:pt>
                <c:pt idx="1913">
                  <c:v>0.87529594252592047</c:v>
                </c:pt>
                <c:pt idx="1914">
                  <c:v>0.8326766055977578</c:v>
                </c:pt>
                <c:pt idx="1915">
                  <c:v>0.82444953465816462</c:v>
                </c:pt>
                <c:pt idx="1916">
                  <c:v>0.86787793261598167</c:v>
                </c:pt>
                <c:pt idx="1917">
                  <c:v>0.91455807932211364</c:v>
                </c:pt>
                <c:pt idx="1918">
                  <c:v>1.0024571295553888</c:v>
                </c:pt>
                <c:pt idx="1919">
                  <c:v>1.0934002748716798</c:v>
                </c:pt>
                <c:pt idx="1920">
                  <c:v>1.1368803189906564</c:v>
                </c:pt>
                <c:pt idx="1921">
                  <c:v>1.1329765968570287</c:v>
                </c:pt>
                <c:pt idx="1922">
                  <c:v>1.1193064019601686</c:v>
                </c:pt>
                <c:pt idx="1923">
                  <c:v>1.0654360838634869</c:v>
                </c:pt>
                <c:pt idx="1924">
                  <c:v>0.94359444189952668</c:v>
                </c:pt>
                <c:pt idx="1925">
                  <c:v>0.76576983947546917</c:v>
                </c:pt>
                <c:pt idx="1926">
                  <c:v>0.5799210656142082</c:v>
                </c:pt>
                <c:pt idx="1927">
                  <c:v>0.47666201361019017</c:v>
                </c:pt>
                <c:pt idx="1928">
                  <c:v>0.43820675105485229</c:v>
                </c:pt>
                <c:pt idx="1929">
                  <c:v>0.4409180411170629</c:v>
                </c:pt>
                <c:pt idx="1930">
                  <c:v>0.45222189336603102</c:v>
                </c:pt>
                <c:pt idx="1931">
                  <c:v>0.45522340220944896</c:v>
                </c:pt>
                <c:pt idx="1932">
                  <c:v>0.48860383295819582</c:v>
                </c:pt>
                <c:pt idx="1933">
                  <c:v>0.47966790550085847</c:v>
                </c:pt>
                <c:pt idx="1934">
                  <c:v>0.42628190899001112</c:v>
                </c:pt>
                <c:pt idx="1935">
                  <c:v>0.38412896949482311</c:v>
                </c:pt>
                <c:pt idx="1936">
                  <c:v>0.31129457471902316</c:v>
                </c:pt>
                <c:pt idx="1937">
                  <c:v>0.19232608695652173</c:v>
                </c:pt>
                <c:pt idx="1938">
                  <c:v>0.10877866666666666</c:v>
                </c:pt>
                <c:pt idx="1939">
                  <c:v>7.3040518983303201E-2</c:v>
                </c:pt>
                <c:pt idx="1940">
                  <c:v>6.9345798633960384E-2</c:v>
                </c:pt>
                <c:pt idx="1941">
                  <c:v>7.6123464659589593E-2</c:v>
                </c:pt>
                <c:pt idx="1942">
                  <c:v>6.9996510910115689E-2</c:v>
                </c:pt>
                <c:pt idx="1943">
                  <c:v>7.2536724660720073E-2</c:v>
                </c:pt>
                <c:pt idx="1944">
                  <c:v>7.2858386174313075E-2</c:v>
                </c:pt>
                <c:pt idx="1945">
                  <c:v>6.4662761291974777E-2</c:v>
                </c:pt>
                <c:pt idx="1946">
                  <c:v>5.9741432117870849E-2</c:v>
                </c:pt>
                <c:pt idx="1947">
                  <c:v>6.3479874576054265E-2</c:v>
                </c:pt>
                <c:pt idx="1948">
                  <c:v>7.588883713709052E-2</c:v>
                </c:pt>
                <c:pt idx="1949">
                  <c:v>8.7945564286527722E-2</c:v>
                </c:pt>
                <c:pt idx="1950">
                  <c:v>8.9331540999633391E-2</c:v>
                </c:pt>
                <c:pt idx="1951">
                  <c:v>7.9550321199143473E-2</c:v>
                </c:pt>
                <c:pt idx="1952">
                  <c:v>6.4874574430310999E-2</c:v>
                </c:pt>
                <c:pt idx="1953">
                  <c:v>5.7347444458443586E-2</c:v>
                </c:pt>
                <c:pt idx="1954">
                  <c:v>5.1150575287643822E-2</c:v>
                </c:pt>
                <c:pt idx="1955">
                  <c:v>4.8901790859997012E-2</c:v>
                </c:pt>
                <c:pt idx="1956">
                  <c:v>5.2790412876137158E-2</c:v>
                </c:pt>
                <c:pt idx="1957">
                  <c:v>6.7529963408488353E-2</c:v>
                </c:pt>
                <c:pt idx="1958">
                  <c:v>8.955795257504448E-2</c:v>
                </c:pt>
                <c:pt idx="1959">
                  <c:v>0.10832090942974285</c:v>
                </c:pt>
                <c:pt idx="1960">
                  <c:v>0.12723266607285172</c:v>
                </c:pt>
                <c:pt idx="1961">
                  <c:v>0.11728165532929419</c:v>
                </c:pt>
                <c:pt idx="1962">
                  <c:v>0.11995019963079034</c:v>
                </c:pt>
                <c:pt idx="1963">
                  <c:v>0.10439783635858293</c:v>
                </c:pt>
                <c:pt idx="1964">
                  <c:v>8.1868556115728755E-2</c:v>
                </c:pt>
                <c:pt idx="1965">
                  <c:v>6.2970752225374155E-2</c:v>
                </c:pt>
                <c:pt idx="1966">
                  <c:v>4.9115860998903187E-2</c:v>
                </c:pt>
                <c:pt idx="1967">
                  <c:v>4.4461367230976517E-2</c:v>
                </c:pt>
                <c:pt idx="1968">
                  <c:v>3.6128024980484001E-2</c:v>
                </c:pt>
                <c:pt idx="1969">
                  <c:v>3.8490007401924493E-2</c:v>
                </c:pt>
                <c:pt idx="1970">
                  <c:v>4.1502867822388351E-2</c:v>
                </c:pt>
                <c:pt idx="1971">
                  <c:v>4.0375857866717983E-2</c:v>
                </c:pt>
                <c:pt idx="1972">
                  <c:v>4.3563861370667832E-2</c:v>
                </c:pt>
                <c:pt idx="1973">
                  <c:v>4.8316125506887922E-2</c:v>
                </c:pt>
                <c:pt idx="1974">
                  <c:v>5.5584186114996693E-2</c:v>
                </c:pt>
                <c:pt idx="1975">
                  <c:v>5.2399956854708232E-2</c:v>
                </c:pt>
                <c:pt idx="1976">
                  <c:v>3.7052508458999961E-2</c:v>
                </c:pt>
                <c:pt idx="1977">
                  <c:v>3.0063591997126743E-2</c:v>
                </c:pt>
                <c:pt idx="1978">
                  <c:v>3.9889055916664903E-2</c:v>
                </c:pt>
                <c:pt idx="1979">
                  <c:v>5.7620413841071118E-2</c:v>
                </c:pt>
                <c:pt idx="1980">
                  <c:v>7.9593641579174132E-2</c:v>
                </c:pt>
                <c:pt idx="1981">
                  <c:v>0.12825933756166313</c:v>
                </c:pt>
                <c:pt idx="1982">
                  <c:v>0.17355700034741176</c:v>
                </c:pt>
                <c:pt idx="1983">
                  <c:v>0.21136956136576479</c:v>
                </c:pt>
                <c:pt idx="1984">
                  <c:v>0.23905590062111801</c:v>
                </c:pt>
                <c:pt idx="1985">
                  <c:v>0.222374304224838</c:v>
                </c:pt>
                <c:pt idx="1986">
                  <c:v>0.19696497708157182</c:v>
                </c:pt>
                <c:pt idx="1987">
                  <c:v>0.22365468284863749</c:v>
                </c:pt>
                <c:pt idx="1988">
                  <c:v>0.27733598409542742</c:v>
                </c:pt>
                <c:pt idx="1989">
                  <c:v>0.34051424600416957</c:v>
                </c:pt>
                <c:pt idx="1990">
                  <c:v>0.39832788497700122</c:v>
                </c:pt>
                <c:pt idx="1991">
                  <c:v>0.4577020592418527</c:v>
                </c:pt>
                <c:pt idx="1992">
                  <c:v>0.51489822008063735</c:v>
                </c:pt>
                <c:pt idx="1993">
                  <c:v>0.59715849223343864</c:v>
                </c:pt>
                <c:pt idx="1994">
                  <c:v>0.6801093879811686</c:v>
                </c:pt>
                <c:pt idx="1995">
                  <c:v>0.739477503628447</c:v>
                </c:pt>
                <c:pt idx="1996">
                  <c:v>0.77139628069454436</c:v>
                </c:pt>
                <c:pt idx="1997">
                  <c:v>0.75922395049339353</c:v>
                </c:pt>
                <c:pt idx="1998">
                  <c:v>0.71523220997642878</c:v>
                </c:pt>
                <c:pt idx="1999">
                  <c:v>0.62990360252788546</c:v>
                </c:pt>
                <c:pt idx="2000">
                  <c:v>0.61933396251853845</c:v>
                </c:pt>
                <c:pt idx="2001">
                  <c:v>0.60869565217391308</c:v>
                </c:pt>
                <c:pt idx="2002">
                  <c:v>0.56940083224834692</c:v>
                </c:pt>
                <c:pt idx="2003">
                  <c:v>0.530122655122655</c:v>
                </c:pt>
                <c:pt idx="2004">
                  <c:v>0.51384484183034407</c:v>
                </c:pt>
                <c:pt idx="2005">
                  <c:v>0.51835263272886167</c:v>
                </c:pt>
                <c:pt idx="2006">
                  <c:v>0.49221751689710302</c:v>
                </c:pt>
                <c:pt idx="2007">
                  <c:v>0.47864389439881777</c:v>
                </c:pt>
                <c:pt idx="2008">
                  <c:v>0.42442244224422443</c:v>
                </c:pt>
                <c:pt idx="2009">
                  <c:v>0.33263619669455213</c:v>
                </c:pt>
                <c:pt idx="2010">
                  <c:v>0.2711541789236892</c:v>
                </c:pt>
                <c:pt idx="2011">
                  <c:v>0.24739374498797115</c:v>
                </c:pt>
                <c:pt idx="2012">
                  <c:v>0.24059107519137926</c:v>
                </c:pt>
                <c:pt idx="2013">
                  <c:v>0.23334662943757478</c:v>
                </c:pt>
                <c:pt idx="2014">
                  <c:v>0.19833017309927212</c:v>
                </c:pt>
                <c:pt idx="2015">
                  <c:v>0.15392941485174491</c:v>
                </c:pt>
                <c:pt idx="2016">
                  <c:v>0.11776234355659471</c:v>
                </c:pt>
                <c:pt idx="2017">
                  <c:v>9.2625994694960204E-2</c:v>
                </c:pt>
                <c:pt idx="2018">
                  <c:v>7.2007749712973593E-2</c:v>
                </c:pt>
                <c:pt idx="2019">
                  <c:v>3.7538616279905165E-2</c:v>
                </c:pt>
                <c:pt idx="2020">
                  <c:v>2.7116237799467612E-2</c:v>
                </c:pt>
                <c:pt idx="2021">
                  <c:v>2.4494609164420485E-2</c:v>
                </c:pt>
                <c:pt idx="2022">
                  <c:v>2.0464937805774949E-2</c:v>
                </c:pt>
                <c:pt idx="2023">
                  <c:v>1.8740453530724944E-2</c:v>
                </c:pt>
                <c:pt idx="2024">
                  <c:v>1.6674514583275631E-2</c:v>
                </c:pt>
                <c:pt idx="2025">
                  <c:v>2.4805953428822917E-2</c:v>
                </c:pt>
                <c:pt idx="2026">
                  <c:v>4.4202417319697172E-2</c:v>
                </c:pt>
                <c:pt idx="2027">
                  <c:v>5.6147696992767414E-2</c:v>
                </c:pt>
                <c:pt idx="2028">
                  <c:v>6.3635347381364935E-2</c:v>
                </c:pt>
                <c:pt idx="2029">
                  <c:v>6.5433977432599266E-2</c:v>
                </c:pt>
                <c:pt idx="2030">
                  <c:v>8.0965492999004046E-2</c:v>
                </c:pt>
                <c:pt idx="2031">
                  <c:v>8.2778114274177264E-2</c:v>
                </c:pt>
                <c:pt idx="2032">
                  <c:v>9.5421069484470059E-2</c:v>
                </c:pt>
                <c:pt idx="2033">
                  <c:v>0.1057997573755259</c:v>
                </c:pt>
                <c:pt idx="2034">
                  <c:v>0.12030781270379548</c:v>
                </c:pt>
                <c:pt idx="2035">
                  <c:v>0.14274683413981262</c:v>
                </c:pt>
                <c:pt idx="2036">
                  <c:v>0.18703562062937062</c:v>
                </c:pt>
                <c:pt idx="2037">
                  <c:v>0.22899716882729845</c:v>
                </c:pt>
                <c:pt idx="2038">
                  <c:v>0.235213786376199</c:v>
                </c:pt>
                <c:pt idx="2039">
                  <c:v>0.22456926257753271</c:v>
                </c:pt>
                <c:pt idx="2040">
                  <c:v>0.21610380376821897</c:v>
                </c:pt>
                <c:pt idx="2041">
                  <c:v>0.19883879291807044</c:v>
                </c:pt>
                <c:pt idx="2042">
                  <c:v>0.16728756430725564</c:v>
                </c:pt>
                <c:pt idx="2043">
                  <c:v>0.16228100547053528</c:v>
                </c:pt>
                <c:pt idx="2044">
                  <c:v>0.15566707698134646</c:v>
                </c:pt>
                <c:pt idx="2045">
                  <c:v>0.13385703880969724</c:v>
                </c:pt>
                <c:pt idx="2046">
                  <c:v>0.12309117195265201</c:v>
                </c:pt>
                <c:pt idx="2047">
                  <c:v>0.10012555595752377</c:v>
                </c:pt>
                <c:pt idx="2048">
                  <c:v>8.8580553734216042E-2</c:v>
                </c:pt>
                <c:pt idx="2049">
                  <c:v>0.10411612147578013</c:v>
                </c:pt>
                <c:pt idx="2050">
                  <c:v>0.1452910052910053</c:v>
                </c:pt>
                <c:pt idx="2051">
                  <c:v>0.19201022552481639</c:v>
                </c:pt>
                <c:pt idx="2052">
                  <c:v>0.23086874534052537</c:v>
                </c:pt>
                <c:pt idx="2053">
                  <c:v>0.25569482535868898</c:v>
                </c:pt>
                <c:pt idx="2054">
                  <c:v>0.25817906349131198</c:v>
                </c:pt>
                <c:pt idx="2055">
                  <c:v>0.27817393399180923</c:v>
                </c:pt>
                <c:pt idx="2056">
                  <c:v>0.29713999909061972</c:v>
                </c:pt>
                <c:pt idx="2057">
                  <c:v>0.30258480310084634</c:v>
                </c:pt>
                <c:pt idx="2058">
                  <c:v>0.30012930527800635</c:v>
                </c:pt>
                <c:pt idx="2059">
                  <c:v>0.27350547951648557</c:v>
                </c:pt>
                <c:pt idx="2060">
                  <c:v>0.28256719417231851</c:v>
                </c:pt>
                <c:pt idx="2061">
                  <c:v>0.28462215377846223</c:v>
                </c:pt>
                <c:pt idx="2062">
                  <c:v>0.27337693798449608</c:v>
                </c:pt>
                <c:pt idx="2063">
                  <c:v>0.24051168543714602</c:v>
                </c:pt>
                <c:pt idx="2064">
                  <c:v>0.20075642454327491</c:v>
                </c:pt>
                <c:pt idx="2065">
                  <c:v>0.17265574440546338</c:v>
                </c:pt>
                <c:pt idx="2066">
                  <c:v>0.15495721002604607</c:v>
                </c:pt>
                <c:pt idx="2067">
                  <c:v>0.1276553372278279</c:v>
                </c:pt>
                <c:pt idx="2068">
                  <c:v>9.6890971039182289E-2</c:v>
                </c:pt>
                <c:pt idx="2069">
                  <c:v>6.32101014701789E-2</c:v>
                </c:pt>
                <c:pt idx="2070">
                  <c:v>3.6519466713912395E-2</c:v>
                </c:pt>
                <c:pt idx="2071">
                  <c:v>2.1459046170743037E-2</c:v>
                </c:pt>
                <c:pt idx="2072">
                  <c:v>1.257941282002575E-2</c:v>
                </c:pt>
                <c:pt idx="2073">
                  <c:v>6.4405861141797116E-3</c:v>
                </c:pt>
                <c:pt idx="2074">
                  <c:v>1.3631834467552843E-2</c:v>
                </c:pt>
                <c:pt idx="2075">
                  <c:v>2.7441150828247603E-2</c:v>
                </c:pt>
                <c:pt idx="2076">
                  <c:v>4.0078843626806832E-2</c:v>
                </c:pt>
                <c:pt idx="2077">
                  <c:v>4.368779700529006E-2</c:v>
                </c:pt>
                <c:pt idx="2078">
                  <c:v>3.7184903207836226E-2</c:v>
                </c:pt>
                <c:pt idx="2079">
                  <c:v>3.3482774893817839E-2</c:v>
                </c:pt>
                <c:pt idx="2080">
                  <c:v>3.1037980389947029E-2</c:v>
                </c:pt>
                <c:pt idx="2081">
                  <c:v>3.5217688625484384E-2</c:v>
                </c:pt>
                <c:pt idx="2082">
                  <c:v>3.8380331253225729E-2</c:v>
                </c:pt>
                <c:pt idx="2083">
                  <c:v>3.8787254947831369E-2</c:v>
                </c:pt>
                <c:pt idx="2084">
                  <c:v>5.3412093115996213E-2</c:v>
                </c:pt>
                <c:pt idx="2085">
                  <c:v>7.26212635497646E-2</c:v>
                </c:pt>
                <c:pt idx="2086">
                  <c:v>0.13141564515635984</c:v>
                </c:pt>
                <c:pt idx="2087">
                  <c:v>0.15272192251103484</c:v>
                </c:pt>
                <c:pt idx="2088">
                  <c:v>0.13818045980914864</c:v>
                </c:pt>
                <c:pt idx="2089">
                  <c:v>0.15113358674993213</c:v>
                </c:pt>
                <c:pt idx="2090">
                  <c:v>0.18874572176364005</c:v>
                </c:pt>
                <c:pt idx="2091">
                  <c:v>0.1939733245512926</c:v>
                </c:pt>
                <c:pt idx="2092">
                  <c:v>0.19743441651214397</c:v>
                </c:pt>
                <c:pt idx="2093">
                  <c:v>0.20145350299250617</c:v>
                </c:pt>
                <c:pt idx="2094">
                  <c:v>0.19071262959884513</c:v>
                </c:pt>
                <c:pt idx="2095">
                  <c:v>0.20097416789825356</c:v>
                </c:pt>
                <c:pt idx="2096">
                  <c:v>0.21291566660512445</c:v>
                </c:pt>
                <c:pt idx="2097">
                  <c:v>0.23632153621973373</c:v>
                </c:pt>
                <c:pt idx="2098">
                  <c:v>0.28080530401034925</c:v>
                </c:pt>
                <c:pt idx="2099">
                  <c:v>0.31005026165015409</c:v>
                </c:pt>
                <c:pt idx="2100">
                  <c:v>0.29968801996672217</c:v>
                </c:pt>
                <c:pt idx="2101">
                  <c:v>0.28671700521110283</c:v>
                </c:pt>
                <c:pt idx="2102">
                  <c:v>0.25240374061553328</c:v>
                </c:pt>
                <c:pt idx="2103">
                  <c:v>0.19988567911005584</c:v>
                </c:pt>
                <c:pt idx="2104">
                  <c:v>0.15710216562643992</c:v>
                </c:pt>
                <c:pt idx="2105">
                  <c:v>0.12459418202145728</c:v>
                </c:pt>
                <c:pt idx="2106">
                  <c:v>8.4026677968370087E-2</c:v>
                </c:pt>
                <c:pt idx="2107">
                  <c:v>5.1408595517170474E-2</c:v>
                </c:pt>
                <c:pt idx="2108">
                  <c:v>4.6640701071080821E-2</c:v>
                </c:pt>
                <c:pt idx="2109">
                  <c:v>4.9792310150175732E-2</c:v>
                </c:pt>
                <c:pt idx="2110">
                  <c:v>4.8304759656525725E-2</c:v>
                </c:pt>
                <c:pt idx="2111">
                  <c:v>3.2658188098602603E-2</c:v>
                </c:pt>
                <c:pt idx="2112">
                  <c:v>2.5100072183214119E-2</c:v>
                </c:pt>
                <c:pt idx="2113">
                  <c:v>3.0010429633617063E-2</c:v>
                </c:pt>
                <c:pt idx="2114">
                  <c:v>4.633706965572458E-2</c:v>
                </c:pt>
                <c:pt idx="2115">
                  <c:v>8.6162391766051297E-2</c:v>
                </c:pt>
                <c:pt idx="2116">
                  <c:v>0.12877119904790241</c:v>
                </c:pt>
                <c:pt idx="2117">
                  <c:v>0.1501137414693898</c:v>
                </c:pt>
                <c:pt idx="2118">
                  <c:v>0.18933420223742806</c:v>
                </c:pt>
                <c:pt idx="2119">
                  <c:v>0.2602561185013551</c:v>
                </c:pt>
                <c:pt idx="2120">
                  <c:v>0.33821021267851636</c:v>
                </c:pt>
                <c:pt idx="2121">
                  <c:v>0.3927761613323969</c:v>
                </c:pt>
                <c:pt idx="2122">
                  <c:v>0.44139264211352969</c:v>
                </c:pt>
                <c:pt idx="2123">
                  <c:v>0.47970904308874596</c:v>
                </c:pt>
                <c:pt idx="2124">
                  <c:v>0.50263900822388596</c:v>
                </c:pt>
                <c:pt idx="2125">
                  <c:v>0.53451312589113475</c:v>
                </c:pt>
                <c:pt idx="2126">
                  <c:v>0.56236075313441969</c:v>
                </c:pt>
                <c:pt idx="2127">
                  <c:v>0.57141282300026464</c:v>
                </c:pt>
                <c:pt idx="2128">
                  <c:v>0.51508917778296182</c:v>
                </c:pt>
                <c:pt idx="2129">
                  <c:v>0.50868963728329941</c:v>
                </c:pt>
                <c:pt idx="2130">
                  <c:v>0.46530557179475657</c:v>
                </c:pt>
                <c:pt idx="2131">
                  <c:v>0.46573144455141424</c:v>
                </c:pt>
                <c:pt idx="2132">
                  <c:v>0.48066651898889962</c:v>
                </c:pt>
                <c:pt idx="2133">
                  <c:v>0.50565772772691675</c:v>
                </c:pt>
                <c:pt idx="2134">
                  <c:v>0.52452287503370587</c:v>
                </c:pt>
                <c:pt idx="2135">
                  <c:v>0.52393075356415475</c:v>
                </c:pt>
                <c:pt idx="2136">
                  <c:v>0.45661723420418143</c:v>
                </c:pt>
                <c:pt idx="2137">
                  <c:v>0.42727669430364873</c:v>
                </c:pt>
                <c:pt idx="2138">
                  <c:v>0.41575521707038854</c:v>
                </c:pt>
                <c:pt idx="2139">
                  <c:v>0.39146841673502869</c:v>
                </c:pt>
                <c:pt idx="2140">
                  <c:v>0.31076425936652136</c:v>
                </c:pt>
                <c:pt idx="2141">
                  <c:v>0.28513829322786927</c:v>
                </c:pt>
                <c:pt idx="2142">
                  <c:v>0.25182865451291803</c:v>
                </c:pt>
                <c:pt idx="2143">
                  <c:v>0.22166327731991867</c:v>
                </c:pt>
                <c:pt idx="2144">
                  <c:v>0.17616736114094247</c:v>
                </c:pt>
                <c:pt idx="2145">
                  <c:v>0.14896525211968475</c:v>
                </c:pt>
                <c:pt idx="2146">
                  <c:v>0.16078654388766159</c:v>
                </c:pt>
                <c:pt idx="2147">
                  <c:v>0.15910075469116947</c:v>
                </c:pt>
                <c:pt idx="2148">
                  <c:v>0.197430680420176</c:v>
                </c:pt>
                <c:pt idx="2149">
                  <c:v>0.26041821515286651</c:v>
                </c:pt>
                <c:pt idx="2150">
                  <c:v>0.36458575075423533</c:v>
                </c:pt>
                <c:pt idx="2151">
                  <c:v>0.41092445688805929</c:v>
                </c:pt>
                <c:pt idx="2152">
                  <c:v>0.3587128712871287</c:v>
                </c:pt>
                <c:pt idx="2153">
                  <c:v>0.36901540126949767</c:v>
                </c:pt>
                <c:pt idx="2154">
                  <c:v>0.44126935615321922</c:v>
                </c:pt>
                <c:pt idx="2155">
                  <c:v>0.44435290785984605</c:v>
                </c:pt>
                <c:pt idx="2156">
                  <c:v>0.38898432174505798</c:v>
                </c:pt>
                <c:pt idx="2157">
                  <c:v>0.33562065628573945</c:v>
                </c:pt>
                <c:pt idx="2158">
                  <c:v>0.30564605408824924</c:v>
                </c:pt>
                <c:pt idx="2159">
                  <c:v>0.30228046289993193</c:v>
                </c:pt>
                <c:pt idx="2160">
                  <c:v>0.40046478369681798</c:v>
                </c:pt>
                <c:pt idx="2161">
                  <c:v>0.31317422787054827</c:v>
                </c:pt>
                <c:pt idx="2162">
                  <c:v>0.22176982555750629</c:v>
                </c:pt>
                <c:pt idx="2163">
                  <c:v>0.23894853757867457</c:v>
                </c:pt>
                <c:pt idx="2164">
                  <c:v>0.21558747855917665</c:v>
                </c:pt>
                <c:pt idx="2165">
                  <c:v>0.21733220050977059</c:v>
                </c:pt>
                <c:pt idx="2166">
                  <c:v>0.19009249098604797</c:v>
                </c:pt>
                <c:pt idx="2167">
                  <c:v>0.13868592140843447</c:v>
                </c:pt>
                <c:pt idx="2168">
                  <c:v>0.10970279720279721</c:v>
                </c:pt>
                <c:pt idx="2169">
                  <c:v>9.4620868438107575E-2</c:v>
                </c:pt>
                <c:pt idx="2170">
                  <c:v>9.6711905550038627E-2</c:v>
                </c:pt>
                <c:pt idx="2171">
                  <c:v>0.1194662746650082</c:v>
                </c:pt>
                <c:pt idx="2172">
                  <c:v>0.13422741198913232</c:v>
                </c:pt>
                <c:pt idx="2173">
                  <c:v>0.12348646723646722</c:v>
                </c:pt>
                <c:pt idx="2174">
                  <c:v>0.10624812255932713</c:v>
                </c:pt>
                <c:pt idx="2175">
                  <c:v>9.1940774891391089E-2</c:v>
                </c:pt>
                <c:pt idx="2176">
                  <c:v>7.1008195368791591E-2</c:v>
                </c:pt>
                <c:pt idx="2177">
                  <c:v>5.9081782893856245E-2</c:v>
                </c:pt>
                <c:pt idx="2178">
                  <c:v>5.0943501563197859E-2</c:v>
                </c:pt>
                <c:pt idx="2179">
                  <c:v>4.1176960906893385E-2</c:v>
                </c:pt>
                <c:pt idx="2180">
                  <c:v>4.3402119027465623E-2</c:v>
                </c:pt>
                <c:pt idx="2181">
                  <c:v>5.2984280077660179E-2</c:v>
                </c:pt>
                <c:pt idx="2182">
                  <c:v>5.3924403769605007E-2</c:v>
                </c:pt>
                <c:pt idx="2183">
                  <c:v>7.2118155619596544E-2</c:v>
                </c:pt>
                <c:pt idx="2184">
                  <c:v>5.2179805737519763E-2</c:v>
                </c:pt>
                <c:pt idx="2185">
                  <c:v>2.6992585727525491E-2</c:v>
                </c:pt>
                <c:pt idx="2186">
                  <c:v>2.3968871595330739E-2</c:v>
                </c:pt>
                <c:pt idx="2187">
                  <c:v>3.7827164317794641E-2</c:v>
                </c:pt>
                <c:pt idx="2188">
                  <c:v>3.7795632001810568E-2</c:v>
                </c:pt>
                <c:pt idx="2189">
                  <c:v>2.6184404295822705E-2</c:v>
                </c:pt>
                <c:pt idx="2190">
                  <c:v>3.153333333333333E-2</c:v>
                </c:pt>
                <c:pt idx="2191">
                  <c:v>3.5850974763784238E-2</c:v>
                </c:pt>
                <c:pt idx="2192">
                  <c:v>6.4801510156932349E-2</c:v>
                </c:pt>
                <c:pt idx="2193">
                  <c:v>9.1225838564278391E-2</c:v>
                </c:pt>
                <c:pt idx="2194">
                  <c:v>8.0984837946863272E-2</c:v>
                </c:pt>
                <c:pt idx="2195">
                  <c:v>8.8359046283309955E-2</c:v>
                </c:pt>
                <c:pt idx="2196">
                  <c:v>0.11991158063960498</c:v>
                </c:pt>
                <c:pt idx="2197">
                  <c:v>0.13851243506776167</c:v>
                </c:pt>
                <c:pt idx="2198">
                  <c:v>0.16625419833834187</c:v>
                </c:pt>
                <c:pt idx="2199">
                  <c:v>0.16849385834002986</c:v>
                </c:pt>
                <c:pt idx="2200">
                  <c:v>0.17807893485496912</c:v>
                </c:pt>
                <c:pt idx="2201">
                  <c:v>0.19394473534138632</c:v>
                </c:pt>
                <c:pt idx="2202">
                  <c:v>0.2272775536207263</c:v>
                </c:pt>
                <c:pt idx="2203">
                  <c:v>0.30344845922735364</c:v>
                </c:pt>
                <c:pt idx="2204">
                  <c:v>0.3602389944197058</c:v>
                </c:pt>
                <c:pt idx="2205">
                  <c:v>0.3853483669342484</c:v>
                </c:pt>
                <c:pt idx="2206">
                  <c:v>0.37755238222340853</c:v>
                </c:pt>
                <c:pt idx="2207">
                  <c:v>0.35367223704535877</c:v>
                </c:pt>
                <c:pt idx="2208">
                  <c:v>0.37301013024602026</c:v>
                </c:pt>
                <c:pt idx="2209">
                  <c:v>0.40029320139270663</c:v>
                </c:pt>
                <c:pt idx="2210">
                  <c:v>0.35506331397236557</c:v>
                </c:pt>
                <c:pt idx="2211">
                  <c:v>0.30306288806410214</c:v>
                </c:pt>
                <c:pt idx="2212">
                  <c:v>0.24323207930859178</c:v>
                </c:pt>
                <c:pt idx="2213">
                  <c:v>0.19153402598782981</c:v>
                </c:pt>
                <c:pt idx="2214">
                  <c:v>0.1557424661353656</c:v>
                </c:pt>
                <c:pt idx="2215">
                  <c:v>0.12551000154378847</c:v>
                </c:pt>
                <c:pt idx="2216">
                  <c:v>0.11861643533818021</c:v>
                </c:pt>
                <c:pt idx="2217">
                  <c:v>9.9791780821917808E-2</c:v>
                </c:pt>
                <c:pt idx="2218">
                  <c:v>9.5689142454347217E-2</c:v>
                </c:pt>
                <c:pt idx="2219">
                  <c:v>9.1967535550380924E-2</c:v>
                </c:pt>
                <c:pt idx="2220">
                  <c:v>8.4502254753110198E-2</c:v>
                </c:pt>
                <c:pt idx="2221">
                  <c:v>7.3269950486994126E-2</c:v>
                </c:pt>
                <c:pt idx="2222">
                  <c:v>7.061708015730446E-2</c:v>
                </c:pt>
                <c:pt idx="2223">
                  <c:v>6.6250399469013496E-2</c:v>
                </c:pt>
                <c:pt idx="2224">
                  <c:v>5.699601814982868E-2</c:v>
                </c:pt>
                <c:pt idx="2225">
                  <c:v>5.9066647772896885E-2</c:v>
                </c:pt>
                <c:pt idx="2226">
                  <c:v>5.5579986318772603E-2</c:v>
                </c:pt>
                <c:pt idx="2227">
                  <c:v>5.7981964416280764E-2</c:v>
                </c:pt>
                <c:pt idx="2228">
                  <c:v>5.6474251008013066E-2</c:v>
                </c:pt>
                <c:pt idx="2229">
                  <c:v>4.6353730092204518E-2</c:v>
                </c:pt>
                <c:pt idx="2230">
                  <c:v>3.4546519153132609E-2</c:v>
                </c:pt>
                <c:pt idx="2231">
                  <c:v>2.8035225436195126E-2</c:v>
                </c:pt>
                <c:pt idx="2232">
                  <c:v>4.0793374910540844E-2</c:v>
                </c:pt>
                <c:pt idx="2233">
                  <c:v>5.1233850570784056E-2</c:v>
                </c:pt>
                <c:pt idx="2234">
                  <c:v>5.3609089053677117E-2</c:v>
                </c:pt>
                <c:pt idx="2235">
                  <c:v>6.5671740350645491E-2</c:v>
                </c:pt>
                <c:pt idx="2236">
                  <c:v>7.6152848568929649E-2</c:v>
                </c:pt>
                <c:pt idx="2237">
                  <c:v>7.131743400076522E-2</c:v>
                </c:pt>
                <c:pt idx="2238">
                  <c:v>7.2207698548634278E-2</c:v>
                </c:pt>
                <c:pt idx="2239">
                  <c:v>7.1681627507661549E-2</c:v>
                </c:pt>
                <c:pt idx="2240">
                  <c:v>6.4448428140439856E-2</c:v>
                </c:pt>
                <c:pt idx="2241">
                  <c:v>8.2126869745605416E-2</c:v>
                </c:pt>
                <c:pt idx="2242">
                  <c:v>0.11798337950138503</c:v>
                </c:pt>
                <c:pt idx="2243">
                  <c:v>0.17309484306461512</c:v>
                </c:pt>
                <c:pt idx="2244">
                  <c:v>0.21453161804674759</c:v>
                </c:pt>
                <c:pt idx="2245">
                  <c:v>0.25810301654536516</c:v>
                </c:pt>
                <c:pt idx="2246">
                  <c:v>0.29291579612263735</c:v>
                </c:pt>
                <c:pt idx="2247">
                  <c:v>0.31785388914879475</c:v>
                </c:pt>
                <c:pt idx="2248">
                  <c:v>0.30661713489667985</c:v>
                </c:pt>
                <c:pt idx="2249">
                  <c:v>0.30869963155053853</c:v>
                </c:pt>
                <c:pt idx="2250">
                  <c:v>0.30004122111490994</c:v>
                </c:pt>
                <c:pt idx="2251">
                  <c:v>0.26825723628436476</c:v>
                </c:pt>
                <c:pt idx="2252">
                  <c:v>0.22852623791423249</c:v>
                </c:pt>
                <c:pt idx="2253">
                  <c:v>0.23079490460032262</c:v>
                </c:pt>
                <c:pt idx="2254">
                  <c:v>0.27973635806253833</c:v>
                </c:pt>
                <c:pt idx="2255">
                  <c:v>0.28762223534816567</c:v>
                </c:pt>
                <c:pt idx="2256">
                  <c:v>0.31099697268614579</c:v>
                </c:pt>
                <c:pt idx="2257">
                  <c:v>0.33521097556761242</c:v>
                </c:pt>
                <c:pt idx="2258">
                  <c:v>0.38547965915338106</c:v>
                </c:pt>
                <c:pt idx="2259">
                  <c:v>0.4683987346032174</c:v>
                </c:pt>
                <c:pt idx="2260">
                  <c:v>0.52141538461538461</c:v>
                </c:pt>
                <c:pt idx="2261">
                  <c:v>0.48418875242404652</c:v>
                </c:pt>
                <c:pt idx="2262">
                  <c:v>0.44735168529117836</c:v>
                </c:pt>
                <c:pt idx="2263">
                  <c:v>0.45058303350817114</c:v>
                </c:pt>
                <c:pt idx="2264">
                  <c:v>0.52984527862776365</c:v>
                </c:pt>
                <c:pt idx="2265">
                  <c:v>0.62569643761607308</c:v>
                </c:pt>
                <c:pt idx="2266">
                  <c:v>0.73989630699927755</c:v>
                </c:pt>
                <c:pt idx="2267">
                  <c:v>0.80273521102645329</c:v>
                </c:pt>
                <c:pt idx="2268">
                  <c:v>0.87383667443999913</c:v>
                </c:pt>
                <c:pt idx="2269">
                  <c:v>0.94645021645021654</c:v>
                </c:pt>
                <c:pt idx="2270">
                  <c:v>1.008495172690584</c:v>
                </c:pt>
                <c:pt idx="2271">
                  <c:v>0.96757238307349658</c:v>
                </c:pt>
                <c:pt idx="2272">
                  <c:v>0.9420054645931345</c:v>
                </c:pt>
                <c:pt idx="2273">
                  <c:v>0.97046485020551709</c:v>
                </c:pt>
                <c:pt idx="2274">
                  <c:v>1.0076340960031955</c:v>
                </c:pt>
                <c:pt idx="2275">
                  <c:v>1.0012717734426453</c:v>
                </c:pt>
                <c:pt idx="2276">
                  <c:v>0.94972541991222625</c:v>
                </c:pt>
                <c:pt idx="2277">
                  <c:v>0.97084555413501794</c:v>
                </c:pt>
                <c:pt idx="2278">
                  <c:v>0.933031798245614</c:v>
                </c:pt>
                <c:pt idx="2279">
                  <c:v>0.93119712289597023</c:v>
                </c:pt>
                <c:pt idx="2280">
                  <c:v>0.91516038696537694</c:v>
                </c:pt>
                <c:pt idx="2281">
                  <c:v>0.84107095753099448</c:v>
                </c:pt>
                <c:pt idx="2282">
                  <c:v>0.74302409559451121</c:v>
                </c:pt>
                <c:pt idx="2283">
                  <c:v>0.6250160276958584</c:v>
                </c:pt>
                <c:pt idx="2284">
                  <c:v>0.47762076509194101</c:v>
                </c:pt>
                <c:pt idx="2285">
                  <c:v>0.33010426491957068</c:v>
                </c:pt>
                <c:pt idx="2286">
                  <c:v>0.26600587536160386</c:v>
                </c:pt>
                <c:pt idx="2287">
                  <c:v>0.24673725151253242</c:v>
                </c:pt>
                <c:pt idx="2288">
                  <c:v>0.27861096039066735</c:v>
                </c:pt>
                <c:pt idx="2289">
                  <c:v>0.38629812862981289</c:v>
                </c:pt>
                <c:pt idx="2290">
                  <c:v>0.50680353306278358</c:v>
                </c:pt>
                <c:pt idx="2291">
                  <c:v>0.60928484580523934</c:v>
                </c:pt>
                <c:pt idx="2292">
                  <c:v>0.65778494006490218</c:v>
                </c:pt>
                <c:pt idx="2293">
                  <c:v>0.69720434879076998</c:v>
                </c:pt>
                <c:pt idx="2294">
                  <c:v>0.81198337671827203</c:v>
                </c:pt>
                <c:pt idx="2295">
                  <c:v>0.87229378531073454</c:v>
                </c:pt>
                <c:pt idx="2296">
                  <c:v>0.83317956890044453</c:v>
                </c:pt>
                <c:pt idx="2297">
                  <c:v>0.83535973928302831</c:v>
                </c:pt>
                <c:pt idx="2298">
                  <c:v>0.88358725013506212</c:v>
                </c:pt>
                <c:pt idx="2299">
                  <c:v>0.93340749805317602</c:v>
                </c:pt>
                <c:pt idx="2300">
                  <c:v>0.96749721438562375</c:v>
                </c:pt>
                <c:pt idx="2301">
                  <c:v>1.0239655304285751</c:v>
                </c:pt>
                <c:pt idx="2302">
                  <c:v>1.1003469660956755</c:v>
                </c:pt>
                <c:pt idx="2303">
                  <c:v>1.1988379222751029</c:v>
                </c:pt>
                <c:pt idx="2304">
                  <c:v>1.2105850758878731</c:v>
                </c:pt>
                <c:pt idx="2305">
                  <c:v>1.1912581724423708</c:v>
                </c:pt>
                <c:pt idx="2306">
                  <c:v>1.1199606383960148</c:v>
                </c:pt>
                <c:pt idx="2307">
                  <c:v>1.1146325641738484</c:v>
                </c:pt>
                <c:pt idx="2308">
                  <c:v>1.0113921832096746</c:v>
                </c:pt>
                <c:pt idx="2309">
                  <c:v>0.80580362726704202</c:v>
                </c:pt>
                <c:pt idx="2310">
                  <c:v>0.67777703411195145</c:v>
                </c:pt>
                <c:pt idx="2311">
                  <c:v>0.63160141741023779</c:v>
                </c:pt>
                <c:pt idx="2312">
                  <c:v>0.64695060645602909</c:v>
                </c:pt>
                <c:pt idx="2313">
                  <c:v>0.66948991043259154</c:v>
                </c:pt>
                <c:pt idx="2314">
                  <c:v>0.70392469412372904</c:v>
                </c:pt>
                <c:pt idx="2315">
                  <c:v>0.74803307553435705</c:v>
                </c:pt>
                <c:pt idx="2316">
                  <c:v>0.78462314785081888</c:v>
                </c:pt>
                <c:pt idx="2317">
                  <c:v>0.84530640904578569</c:v>
                </c:pt>
                <c:pt idx="2318">
                  <c:v>0.8611090305345418</c:v>
                </c:pt>
                <c:pt idx="2319">
                  <c:v>0.839606790881962</c:v>
                </c:pt>
                <c:pt idx="2320">
                  <c:v>0.78657482960545277</c:v>
                </c:pt>
                <c:pt idx="2321">
                  <c:v>0.76340541064675649</c:v>
                </c:pt>
                <c:pt idx="2322">
                  <c:v>0.80162221261664424</c:v>
                </c:pt>
                <c:pt idx="2323">
                  <c:v>0.78369187169908527</c:v>
                </c:pt>
                <c:pt idx="2324">
                  <c:v>0.82168713465973064</c:v>
                </c:pt>
                <c:pt idx="2325">
                  <c:v>0.82619537796850995</c:v>
                </c:pt>
                <c:pt idx="2326">
                  <c:v>0.84413386813737779</c:v>
                </c:pt>
                <c:pt idx="2327">
                  <c:v>0.78650594341202074</c:v>
                </c:pt>
                <c:pt idx="2328">
                  <c:v>0.75032675120986259</c:v>
                </c:pt>
                <c:pt idx="2329">
                  <c:v>0.71206465407893305</c:v>
                </c:pt>
                <c:pt idx="2330">
                  <c:v>0.71230982019363764</c:v>
                </c:pt>
                <c:pt idx="2331">
                  <c:v>0.6688641521668649</c:v>
                </c:pt>
                <c:pt idx="2332">
                  <c:v>0.63464225824482945</c:v>
                </c:pt>
                <c:pt idx="2333">
                  <c:v>0.56645203896318308</c:v>
                </c:pt>
                <c:pt idx="2334">
                  <c:v>0.50960760214634737</c:v>
                </c:pt>
                <c:pt idx="2335">
                  <c:v>0.47170484158551634</c:v>
                </c:pt>
                <c:pt idx="2336">
                  <c:v>0.46788582790466476</c:v>
                </c:pt>
                <c:pt idx="2337">
                  <c:v>0.49162900575184881</c:v>
                </c:pt>
                <c:pt idx="2338">
                  <c:v>0.5218346253229974</c:v>
                </c:pt>
                <c:pt idx="2339">
                  <c:v>0.55522372281100507</c:v>
                </c:pt>
                <c:pt idx="2340">
                  <c:v>0.58874739773433915</c:v>
                </c:pt>
                <c:pt idx="2341">
                  <c:v>0.6181521076829336</c:v>
                </c:pt>
                <c:pt idx="2342">
                  <c:v>0.6376421052631579</c:v>
                </c:pt>
                <c:pt idx="2343">
                  <c:v>0.59074432422119871</c:v>
                </c:pt>
                <c:pt idx="2344">
                  <c:v>0.52612672288604101</c:v>
                </c:pt>
                <c:pt idx="2345">
                  <c:v>0.47277446015067909</c:v>
                </c:pt>
                <c:pt idx="2346">
                  <c:v>0.40999841126939573</c:v>
                </c:pt>
                <c:pt idx="2347">
                  <c:v>0.33943198965294241</c:v>
                </c:pt>
                <c:pt idx="2348">
                  <c:v>0.29140872293341546</c:v>
                </c:pt>
                <c:pt idx="2349">
                  <c:v>0.28090258008450447</c:v>
                </c:pt>
                <c:pt idx="2350">
                  <c:v>0.32495488527971128</c:v>
                </c:pt>
                <c:pt idx="2351">
                  <c:v>0.39912235592581163</c:v>
                </c:pt>
                <c:pt idx="2352">
                  <c:v>0.49172203268091214</c:v>
                </c:pt>
                <c:pt idx="2353">
                  <c:v>0.50986697851191354</c:v>
                </c:pt>
                <c:pt idx="2354">
                  <c:v>0.53004746257758317</c:v>
                </c:pt>
                <c:pt idx="2355">
                  <c:v>0.51906264736823016</c:v>
                </c:pt>
                <c:pt idx="2356">
                  <c:v>0.50974821549060689</c:v>
                </c:pt>
                <c:pt idx="2357">
                  <c:v>0.50473251028806587</c:v>
                </c:pt>
                <c:pt idx="2358">
                  <c:v>0.41623837300961697</c:v>
                </c:pt>
                <c:pt idx="2359">
                  <c:v>0.33688997726080111</c:v>
                </c:pt>
                <c:pt idx="2360">
                  <c:v>0.29991019812538589</c:v>
                </c:pt>
                <c:pt idx="2361">
                  <c:v>0.31686352797648748</c:v>
                </c:pt>
                <c:pt idx="2362">
                  <c:v>0.37248256896024884</c:v>
                </c:pt>
                <c:pt idx="2363">
                  <c:v>0.40516416061271621</c:v>
                </c:pt>
                <c:pt idx="2364">
                  <c:v>0.44670895886557399</c:v>
                </c:pt>
                <c:pt idx="2365">
                  <c:v>0.49741526170475242</c:v>
                </c:pt>
                <c:pt idx="2366">
                  <c:v>0.54805225794905443</c:v>
                </c:pt>
                <c:pt idx="2367">
                  <c:v>0.58940767781441361</c:v>
                </c:pt>
                <c:pt idx="2368">
                  <c:v>0.5586755039740382</c:v>
                </c:pt>
                <c:pt idx="2369">
                  <c:v>0.54148353870628518</c:v>
                </c:pt>
                <c:pt idx="2370">
                  <c:v>0.53836565096952904</c:v>
                </c:pt>
                <c:pt idx="2371">
                  <c:v>0.55865135030651136</c:v>
                </c:pt>
                <c:pt idx="2372">
                  <c:v>0.60688364708550691</c:v>
                </c:pt>
                <c:pt idx="2373">
                  <c:v>0.6978131814877635</c:v>
                </c:pt>
                <c:pt idx="2374">
                  <c:v>0.82593900897689343</c:v>
                </c:pt>
                <c:pt idx="2375">
                  <c:v>0.99582130117207412</c:v>
                </c:pt>
                <c:pt idx="2376">
                  <c:v>1.0835910049191846</c:v>
                </c:pt>
                <c:pt idx="2377">
                  <c:v>1.1012841829695406</c:v>
                </c:pt>
                <c:pt idx="2378">
                  <c:v>1.0963808854532677</c:v>
                </c:pt>
                <c:pt idx="2379">
                  <c:v>1.1285510398260159</c:v>
                </c:pt>
                <c:pt idx="2380">
                  <c:v>1.1546016157136068</c:v>
                </c:pt>
                <c:pt idx="2381">
                  <c:v>1.114591439688716</c:v>
                </c:pt>
                <c:pt idx="2382">
                  <c:v>0.95244974118213555</c:v>
                </c:pt>
                <c:pt idx="2383">
                  <c:v>0.9087851383258343</c:v>
                </c:pt>
                <c:pt idx="2384">
                  <c:v>0.92496361147922046</c:v>
                </c:pt>
                <c:pt idx="2385">
                  <c:v>0.92303083474204528</c:v>
                </c:pt>
                <c:pt idx="2386">
                  <c:v>0.94684600912570549</c:v>
                </c:pt>
                <c:pt idx="2387">
                  <c:v>0.9482300692297646</c:v>
                </c:pt>
                <c:pt idx="2388">
                  <c:v>0.94647108022904214</c:v>
                </c:pt>
                <c:pt idx="2389">
                  <c:v>0.96791754529414309</c:v>
                </c:pt>
                <c:pt idx="2390">
                  <c:v>0.96653867251782777</c:v>
                </c:pt>
                <c:pt idx="2391">
                  <c:v>1.0349896759134571</c:v>
                </c:pt>
                <c:pt idx="2392">
                  <c:v>1.0444904759760436</c:v>
                </c:pt>
                <c:pt idx="2393">
                  <c:v>1.0365041239916615</c:v>
                </c:pt>
                <c:pt idx="2394">
                  <c:v>1.0579133195895831</c:v>
                </c:pt>
                <c:pt idx="2395">
                  <c:v>1.0646116084319954</c:v>
                </c:pt>
                <c:pt idx="2396">
                  <c:v>1.0951507792947939</c:v>
                </c:pt>
                <c:pt idx="2397">
                  <c:v>1.1687816250298038</c:v>
                </c:pt>
                <c:pt idx="2398">
                  <c:v>1.2640536358947911</c:v>
                </c:pt>
                <c:pt idx="2399">
                  <c:v>1.3410092352266556</c:v>
                </c:pt>
                <c:pt idx="2400">
                  <c:v>1.3550948526231232</c:v>
                </c:pt>
                <c:pt idx="2401">
                  <c:v>1.3585699924604173</c:v>
                </c:pt>
                <c:pt idx="2402">
                  <c:v>1.3487494100991033</c:v>
                </c:pt>
                <c:pt idx="2403">
                  <c:v>1.3190446841294299</c:v>
                </c:pt>
                <c:pt idx="2404">
                  <c:v>1.1851346644996517</c:v>
                </c:pt>
                <c:pt idx="2405">
                  <c:v>1.0080087652936112</c:v>
                </c:pt>
                <c:pt idx="2406">
                  <c:v>0.82401651512339957</c:v>
                </c:pt>
                <c:pt idx="2407">
                  <c:v>0.7877424734486087</c:v>
                </c:pt>
                <c:pt idx="2408">
                  <c:v>0.81256205482408805</c:v>
                </c:pt>
                <c:pt idx="2409">
                  <c:v>0.76411406600448584</c:v>
                </c:pt>
                <c:pt idx="2410">
                  <c:v>0.71294198865229863</c:v>
                </c:pt>
                <c:pt idx="2411">
                  <c:v>0.64210010687566799</c:v>
                </c:pt>
                <c:pt idx="2412">
                  <c:v>0.65105066044717541</c:v>
                </c:pt>
                <c:pt idx="2413">
                  <c:v>0.72355378522537372</c:v>
                </c:pt>
                <c:pt idx="2414">
                  <c:v>0.78980046447698948</c:v>
                </c:pt>
                <c:pt idx="2415">
                  <c:v>0.79917238739923924</c:v>
                </c:pt>
                <c:pt idx="2416">
                  <c:v>0.70556410720753338</c:v>
                </c:pt>
                <c:pt idx="2417">
                  <c:v>0.642391156616681</c:v>
                </c:pt>
                <c:pt idx="2418">
                  <c:v>0.58703240718901839</c:v>
                </c:pt>
                <c:pt idx="2419">
                  <c:v>0.62135204142506029</c:v>
                </c:pt>
                <c:pt idx="2420">
                  <c:v>0.7074506484777574</c:v>
                </c:pt>
                <c:pt idx="2421">
                  <c:v>0.7485728134424815</c:v>
                </c:pt>
                <c:pt idx="2422">
                  <c:v>0.87874806574990505</c:v>
                </c:pt>
                <c:pt idx="2423">
                  <c:v>0.93768710842257952</c:v>
                </c:pt>
                <c:pt idx="2424">
                  <c:v>1.0142418229533379</c:v>
                </c:pt>
                <c:pt idx="2425">
                  <c:v>1.0164957209120011</c:v>
                </c:pt>
                <c:pt idx="2426">
                  <c:v>1.0347577978081837</c:v>
                </c:pt>
                <c:pt idx="2427">
                  <c:v>1.0653889155087048</c:v>
                </c:pt>
                <c:pt idx="2428">
                  <c:v>1.0210437962768668</c:v>
                </c:pt>
                <c:pt idx="2429">
                  <c:v>0.92771343926743888</c:v>
                </c:pt>
                <c:pt idx="2430">
                  <c:v>0.79256443758166062</c:v>
                </c:pt>
                <c:pt idx="2431">
                  <c:v>0.72769132003630488</c:v>
                </c:pt>
                <c:pt idx="2432">
                  <c:v>0.68057677822016571</c:v>
                </c:pt>
                <c:pt idx="2433">
                  <c:v>0.68472140516009738</c:v>
                </c:pt>
                <c:pt idx="2434">
                  <c:v>0.69562930073020346</c:v>
                </c:pt>
                <c:pt idx="2435">
                  <c:v>0.71627146361406391</c:v>
                </c:pt>
                <c:pt idx="2436">
                  <c:v>0.74195371074649574</c:v>
                </c:pt>
                <c:pt idx="2437">
                  <c:v>0.80524495034036381</c:v>
                </c:pt>
                <c:pt idx="2438">
                  <c:v>0.83436261406581247</c:v>
                </c:pt>
                <c:pt idx="2439">
                  <c:v>0.86476394949942814</c:v>
                </c:pt>
                <c:pt idx="2440">
                  <c:v>0.85851667044681335</c:v>
                </c:pt>
                <c:pt idx="2441">
                  <c:v>0.87336435680058988</c:v>
                </c:pt>
                <c:pt idx="2442">
                  <c:v>0.88834705356927313</c:v>
                </c:pt>
                <c:pt idx="2443">
                  <c:v>0.88536085528752384</c:v>
                </c:pt>
                <c:pt idx="2444">
                  <c:v>0.92577062844654523</c:v>
                </c:pt>
                <c:pt idx="2445">
                  <c:v>1.0068743641213187</c:v>
                </c:pt>
                <c:pt idx="2446">
                  <c:v>1.0722232137545362</c:v>
                </c:pt>
                <c:pt idx="2447">
                  <c:v>1.1565751977202137</c:v>
                </c:pt>
                <c:pt idx="2448">
                  <c:v>1.1981087787539402</c:v>
                </c:pt>
                <c:pt idx="2449">
                  <c:v>1.1969159811379204</c:v>
                </c:pt>
                <c:pt idx="2450">
                  <c:v>1.1704072864753392</c:v>
                </c:pt>
                <c:pt idx="2451">
                  <c:v>1.127891899269774</c:v>
                </c:pt>
                <c:pt idx="2452">
                  <c:v>1.067434926803122</c:v>
                </c:pt>
                <c:pt idx="2453">
                  <c:v>0.97547034230467733</c:v>
                </c:pt>
                <c:pt idx="2454">
                  <c:v>0.86463963283915601</c:v>
                </c:pt>
                <c:pt idx="2455">
                  <c:v>0.80107437558841454</c:v>
                </c:pt>
                <c:pt idx="2456">
                  <c:v>0.77692692297571109</c:v>
                </c:pt>
                <c:pt idx="2457">
                  <c:v>0.75089278832566864</c:v>
                </c:pt>
                <c:pt idx="2458">
                  <c:v>0.73607136411684326</c:v>
                </c:pt>
                <c:pt idx="2459">
                  <c:v>0.74356624865827159</c:v>
                </c:pt>
                <c:pt idx="2460">
                  <c:v>0.73159621485317627</c:v>
                </c:pt>
                <c:pt idx="2461">
                  <c:v>0.76679798643029107</c:v>
                </c:pt>
                <c:pt idx="2462">
                  <c:v>0.8268355268603591</c:v>
                </c:pt>
                <c:pt idx="2463">
                  <c:v>0.89181062759676355</c:v>
                </c:pt>
                <c:pt idx="2464">
                  <c:v>0.87042758119369668</c:v>
                </c:pt>
                <c:pt idx="2465">
                  <c:v>0.86424038337002984</c:v>
                </c:pt>
                <c:pt idx="2466">
                  <c:v>0.88251894855668434</c:v>
                </c:pt>
                <c:pt idx="2467">
                  <c:v>0.91902494453763328</c:v>
                </c:pt>
                <c:pt idx="2468">
                  <c:v>0.99760376786845506</c:v>
                </c:pt>
                <c:pt idx="2469">
                  <c:v>1.0943512075317234</c:v>
                </c:pt>
                <c:pt idx="2470">
                  <c:v>1.1616503636819664</c:v>
                </c:pt>
                <c:pt idx="2471">
                  <c:v>1.2196050917109351</c:v>
                </c:pt>
                <c:pt idx="2472">
                  <c:v>1.2603462032122663</c:v>
                </c:pt>
                <c:pt idx="2473">
                  <c:v>1.2478692930650352</c:v>
                </c:pt>
                <c:pt idx="2474">
                  <c:v>1.1964088888888889</c:v>
                </c:pt>
                <c:pt idx="2475">
                  <c:v>1.1293947210345925</c:v>
                </c:pt>
                <c:pt idx="2476">
                  <c:v>0.9682847448237657</c:v>
                </c:pt>
                <c:pt idx="2477">
                  <c:v>0.81758300846888021</c:v>
                </c:pt>
                <c:pt idx="2478">
                  <c:v>0.6712900492672671</c:v>
                </c:pt>
                <c:pt idx="2479">
                  <c:v>0.60471692612675654</c:v>
                </c:pt>
                <c:pt idx="2480">
                  <c:v>0.60057862964920572</c:v>
                </c:pt>
                <c:pt idx="2481">
                  <c:v>0.56621385339609953</c:v>
                </c:pt>
                <c:pt idx="2482">
                  <c:v>0.52650395140046236</c:v>
                </c:pt>
                <c:pt idx="2483">
                  <c:v>0.53036980264418476</c:v>
                </c:pt>
                <c:pt idx="2484">
                  <c:v>0.51216147739429096</c:v>
                </c:pt>
                <c:pt idx="2485">
                  <c:v>0.46669163833342941</c:v>
                </c:pt>
                <c:pt idx="2486">
                  <c:v>0.41788864871180692</c:v>
                </c:pt>
                <c:pt idx="2487">
                  <c:v>0.35199862164024814</c:v>
                </c:pt>
                <c:pt idx="2488">
                  <c:v>0.26541201774432049</c:v>
                </c:pt>
                <c:pt idx="2489">
                  <c:v>0.22367095987703398</c:v>
                </c:pt>
                <c:pt idx="2490">
                  <c:v>0.18210183344378175</c:v>
                </c:pt>
                <c:pt idx="2491">
                  <c:v>0.12739155936653354</c:v>
                </c:pt>
                <c:pt idx="2492">
                  <c:v>0.1220381511790368</c:v>
                </c:pt>
                <c:pt idx="2493">
                  <c:v>0.12360439292993823</c:v>
                </c:pt>
                <c:pt idx="2494">
                  <c:v>0.10017632077319924</c:v>
                </c:pt>
                <c:pt idx="2495">
                  <c:v>0.12117382757652344</c:v>
                </c:pt>
                <c:pt idx="2496">
                  <c:v>0.14031971580817051</c:v>
                </c:pt>
                <c:pt idx="2497">
                  <c:v>0.15738891192100404</c:v>
                </c:pt>
                <c:pt idx="2498">
                  <c:v>0.18440353240532853</c:v>
                </c:pt>
                <c:pt idx="2499">
                  <c:v>0.21587867975022298</c:v>
                </c:pt>
                <c:pt idx="2500">
                  <c:v>0.27237424040847141</c:v>
                </c:pt>
                <c:pt idx="2501">
                  <c:v>0.29326923076923084</c:v>
                </c:pt>
                <c:pt idx="2502">
                  <c:v>0.34652063072419975</c:v>
                </c:pt>
                <c:pt idx="2503">
                  <c:v>0.40861496552311227</c:v>
                </c:pt>
                <c:pt idx="2504">
                  <c:v>0.4478678038379531</c:v>
                </c:pt>
                <c:pt idx="2505">
                  <c:v>0.51326424870466314</c:v>
                </c:pt>
                <c:pt idx="2506">
                  <c:v>0.59451963327255453</c:v>
                </c:pt>
                <c:pt idx="2507">
                  <c:v>0.65330780574888103</c:v>
                </c:pt>
                <c:pt idx="2508">
                  <c:v>0.71019542096715038</c:v>
                </c:pt>
                <c:pt idx="2509">
                  <c:v>0.76146299850714427</c:v>
                </c:pt>
                <c:pt idx="2510">
                  <c:v>0.77705860235268831</c:v>
                </c:pt>
                <c:pt idx="2511">
                  <c:v>0.79168670192872803</c:v>
                </c:pt>
                <c:pt idx="2512">
                  <c:v>0.75131559164035477</c:v>
                </c:pt>
                <c:pt idx="2513">
                  <c:v>0.70439214510568138</c:v>
                </c:pt>
                <c:pt idx="2514">
                  <c:v>0.63916156750423114</c:v>
                </c:pt>
                <c:pt idx="2515">
                  <c:v>0.53744906712416896</c:v>
                </c:pt>
                <c:pt idx="2516">
                  <c:v>0.46858213272361637</c:v>
                </c:pt>
                <c:pt idx="2517">
                  <c:v>0.45818106801838976</c:v>
                </c:pt>
                <c:pt idx="2518">
                  <c:v>0.49572113726842421</c:v>
                </c:pt>
                <c:pt idx="2519">
                  <c:v>0.4670997555503465</c:v>
                </c:pt>
                <c:pt idx="2520">
                  <c:v>0.39323712208996109</c:v>
                </c:pt>
                <c:pt idx="2521">
                  <c:v>0.36162440911044258</c:v>
                </c:pt>
                <c:pt idx="2522">
                  <c:v>0.28872858431018938</c:v>
                </c:pt>
                <c:pt idx="2523">
                  <c:v>0.19839113335716843</c:v>
                </c:pt>
                <c:pt idx="2524">
                  <c:v>0.1280567415928579</c:v>
                </c:pt>
                <c:pt idx="2525">
                  <c:v>8.2213658299482684E-2</c:v>
                </c:pt>
                <c:pt idx="2526">
                  <c:v>4.2969759627810807E-2</c:v>
                </c:pt>
                <c:pt idx="2527">
                  <c:v>2.8730690544667481E-2</c:v>
                </c:pt>
                <c:pt idx="2528">
                  <c:v>2.7795898686785604E-2</c:v>
                </c:pt>
                <c:pt idx="2529">
                  <c:v>2.6184538653366583E-2</c:v>
                </c:pt>
                <c:pt idx="2530">
                  <c:v>3.2822818603344107E-2</c:v>
                </c:pt>
                <c:pt idx="2531">
                  <c:v>5.9281558456595364E-2</c:v>
                </c:pt>
                <c:pt idx="2532">
                  <c:v>9.2768271418861015E-2</c:v>
                </c:pt>
                <c:pt idx="2533">
                  <c:v>0.11550096805421105</c:v>
                </c:pt>
                <c:pt idx="2534">
                  <c:v>0.14390036967456518</c:v>
                </c:pt>
                <c:pt idx="2535">
                  <c:v>0.1800178412132025</c:v>
                </c:pt>
                <c:pt idx="2536">
                  <c:v>0.17545426633544536</c:v>
                </c:pt>
                <c:pt idx="2537">
                  <c:v>0.21260322562766723</c:v>
                </c:pt>
                <c:pt idx="2538">
                  <c:v>0.25286965394099142</c:v>
                </c:pt>
                <c:pt idx="2539">
                  <c:v>0.23873810263507217</c:v>
                </c:pt>
                <c:pt idx="2540">
                  <c:v>0.25574811256005492</c:v>
                </c:pt>
                <c:pt idx="2541">
                  <c:v>0.29655298194419111</c:v>
                </c:pt>
                <c:pt idx="2542">
                  <c:v>0.35396999870684087</c:v>
                </c:pt>
                <c:pt idx="2543">
                  <c:v>0.36808753765712116</c:v>
                </c:pt>
                <c:pt idx="2544">
                  <c:v>0.32389696505993371</c:v>
                </c:pt>
                <c:pt idx="2545">
                  <c:v>0.26128239499553169</c:v>
                </c:pt>
                <c:pt idx="2546">
                  <c:v>0.30546587999554708</c:v>
                </c:pt>
                <c:pt idx="2547">
                  <c:v>0.29540305488562452</c:v>
                </c:pt>
                <c:pt idx="2548">
                  <c:v>0.30018821691111197</c:v>
                </c:pt>
                <c:pt idx="2549">
                  <c:v>0.25347162399641643</c:v>
                </c:pt>
                <c:pt idx="2550">
                  <c:v>0.24746237311865593</c:v>
                </c:pt>
                <c:pt idx="2551">
                  <c:v>0.24265007922070303</c:v>
                </c:pt>
                <c:pt idx="2552">
                  <c:v>0.27632592429577463</c:v>
                </c:pt>
                <c:pt idx="2553">
                  <c:v>0.29520787220992561</c:v>
                </c:pt>
                <c:pt idx="2554">
                  <c:v>0.28071243317630867</c:v>
                </c:pt>
                <c:pt idx="2555">
                  <c:v>0.29461718309102147</c:v>
                </c:pt>
                <c:pt idx="2556">
                  <c:v>0.32625987394379757</c:v>
                </c:pt>
                <c:pt idx="2557">
                  <c:v>0.36318837351745642</c:v>
                </c:pt>
                <c:pt idx="2558">
                  <c:v>0.39632862716479073</c:v>
                </c:pt>
                <c:pt idx="2559">
                  <c:v>0.42084173799269481</c:v>
                </c:pt>
                <c:pt idx="2560">
                  <c:v>0.43288004254349316</c:v>
                </c:pt>
                <c:pt idx="2561">
                  <c:v>0.44824206478851997</c:v>
                </c:pt>
                <c:pt idx="2562">
                  <c:v>0.49719160661297168</c:v>
                </c:pt>
                <c:pt idx="2563">
                  <c:v>0.51755088956563555</c:v>
                </c:pt>
                <c:pt idx="2564">
                  <c:v>0.55686285215112474</c:v>
                </c:pt>
                <c:pt idx="2565">
                  <c:v>0.57774878424860643</c:v>
                </c:pt>
                <c:pt idx="2566">
                  <c:v>0.55775036937110556</c:v>
                </c:pt>
                <c:pt idx="2567">
                  <c:v>0.55046274403837059</c:v>
                </c:pt>
                <c:pt idx="2568">
                  <c:v>0.59821830912683283</c:v>
                </c:pt>
                <c:pt idx="2569">
                  <c:v>0.57837893437564281</c:v>
                </c:pt>
                <c:pt idx="2570">
                  <c:v>0.51557152055305167</c:v>
                </c:pt>
                <c:pt idx="2571">
                  <c:v>0.48777498012191894</c:v>
                </c:pt>
                <c:pt idx="2572">
                  <c:v>0.44632698491219386</c:v>
                </c:pt>
                <c:pt idx="2573">
                  <c:v>0.36721519657124713</c:v>
                </c:pt>
                <c:pt idx="2574">
                  <c:v>0.29889543110137384</c:v>
                </c:pt>
                <c:pt idx="2575">
                  <c:v>0.28378260869565219</c:v>
                </c:pt>
                <c:pt idx="2576">
                  <c:v>0.30294263693084916</c:v>
                </c:pt>
                <c:pt idx="2577">
                  <c:v>0.29281177149945464</c:v>
                </c:pt>
                <c:pt idx="2578">
                  <c:v>0.28621445141335167</c:v>
                </c:pt>
                <c:pt idx="2579">
                  <c:v>0.26209979301536973</c:v>
                </c:pt>
                <c:pt idx="2580">
                  <c:v>0.25253798686218565</c:v>
                </c:pt>
                <c:pt idx="2581">
                  <c:v>0.25387417143632784</c:v>
                </c:pt>
                <c:pt idx="2582">
                  <c:v>0.2495882159160431</c:v>
                </c:pt>
                <c:pt idx="2583">
                  <c:v>0.23549895058195</c:v>
                </c:pt>
                <c:pt idx="2584">
                  <c:v>0.21470974758689448</c:v>
                </c:pt>
                <c:pt idx="2585">
                  <c:v>0.20665618806806532</c:v>
                </c:pt>
                <c:pt idx="2586">
                  <c:v>0.19556293747775538</c:v>
                </c:pt>
                <c:pt idx="2587">
                  <c:v>0.1914310197086547</c:v>
                </c:pt>
                <c:pt idx="2588">
                  <c:v>0.18506735596758961</c:v>
                </c:pt>
                <c:pt idx="2589">
                  <c:v>0.1617367051945614</c:v>
                </c:pt>
                <c:pt idx="2590">
                  <c:v>0.1175627030349147</c:v>
                </c:pt>
                <c:pt idx="2591">
                  <c:v>0.10282429078571205</c:v>
                </c:pt>
                <c:pt idx="2592">
                  <c:v>7.9091318617671658E-2</c:v>
                </c:pt>
                <c:pt idx="2593">
                  <c:v>6.6679664651978943E-2</c:v>
                </c:pt>
                <c:pt idx="2594">
                  <c:v>5.557882527306119E-2</c:v>
                </c:pt>
                <c:pt idx="2595">
                  <c:v>4.1853606500800049E-2</c:v>
                </c:pt>
                <c:pt idx="2596">
                  <c:v>2.9929679781484277E-2</c:v>
                </c:pt>
                <c:pt idx="2597">
                  <c:v>2.3629633385730944E-2</c:v>
                </c:pt>
                <c:pt idx="2598">
                  <c:v>2.1881886784052715E-2</c:v>
                </c:pt>
                <c:pt idx="2599">
                  <c:v>1.8895006319758351E-2</c:v>
                </c:pt>
                <c:pt idx="2600">
                  <c:v>2.1890760811245843E-2</c:v>
                </c:pt>
                <c:pt idx="2601">
                  <c:v>2.4850171232876712E-2</c:v>
                </c:pt>
                <c:pt idx="2602">
                  <c:v>2.6042678058989795E-2</c:v>
                </c:pt>
                <c:pt idx="2603">
                  <c:v>2.7022245809561717E-2</c:v>
                </c:pt>
                <c:pt idx="2604">
                  <c:v>4.0159302273839716E-2</c:v>
                </c:pt>
                <c:pt idx="2605">
                  <c:v>6.708895245879308E-2</c:v>
                </c:pt>
                <c:pt idx="2606">
                  <c:v>8.7343779145681769E-2</c:v>
                </c:pt>
                <c:pt idx="2607">
                  <c:v>0.11526420643202734</c:v>
                </c:pt>
                <c:pt idx="2608">
                  <c:v>0.142240112163904</c:v>
                </c:pt>
                <c:pt idx="2609">
                  <c:v>0.16351437992306284</c:v>
                </c:pt>
                <c:pt idx="2610">
                  <c:v>0.1632390439196435</c:v>
                </c:pt>
                <c:pt idx="2611">
                  <c:v>0.11796005636814227</c:v>
                </c:pt>
                <c:pt idx="2612">
                  <c:v>0.11030673930890364</c:v>
                </c:pt>
                <c:pt idx="2613">
                  <c:v>0.14316158618829244</c:v>
                </c:pt>
                <c:pt idx="2614">
                  <c:v>0.19855003281818723</c:v>
                </c:pt>
                <c:pt idx="2615">
                  <c:v>0.22720492557681932</c:v>
                </c:pt>
                <c:pt idx="2616">
                  <c:v>0.2595454993915875</c:v>
                </c:pt>
                <c:pt idx="2617">
                  <c:v>0.2799412196914034</c:v>
                </c:pt>
                <c:pt idx="2618">
                  <c:v>0.32427035841458951</c:v>
                </c:pt>
                <c:pt idx="2619">
                  <c:v>0.38227021434806496</c:v>
                </c:pt>
                <c:pt idx="2620">
                  <c:v>0.38775753245206623</c:v>
                </c:pt>
                <c:pt idx="2621">
                  <c:v>0.36685673004979491</c:v>
                </c:pt>
                <c:pt idx="2622">
                  <c:v>0.33935981696238304</c:v>
                </c:pt>
                <c:pt idx="2623">
                  <c:v>0.36237734309578518</c:v>
                </c:pt>
                <c:pt idx="2624">
                  <c:v>0.42592198279533261</c:v>
                </c:pt>
                <c:pt idx="2625">
                  <c:v>0.46848360139419637</c:v>
                </c:pt>
                <c:pt idx="2626">
                  <c:v>0.49134538067628758</c:v>
                </c:pt>
                <c:pt idx="2627">
                  <c:v>0.53106346298890195</c:v>
                </c:pt>
                <c:pt idx="2628">
                  <c:v>0.57450050432431277</c:v>
                </c:pt>
                <c:pt idx="2629">
                  <c:v>0.62398281361890495</c:v>
                </c:pt>
                <c:pt idx="2630">
                  <c:v>0.69616204690831551</c:v>
                </c:pt>
                <c:pt idx="2631">
                  <c:v>0.75691573926868039</c:v>
                </c:pt>
                <c:pt idx="2632">
                  <c:v>0.73988514748107548</c:v>
                </c:pt>
                <c:pt idx="2633">
                  <c:v>0.73757078521425068</c:v>
                </c:pt>
                <c:pt idx="2634">
                  <c:v>0.71690891586634409</c:v>
                </c:pt>
                <c:pt idx="2635">
                  <c:v>0.69081130841347904</c:v>
                </c:pt>
                <c:pt idx="2636">
                  <c:v>0.67212991880074946</c:v>
                </c:pt>
                <c:pt idx="2637">
                  <c:v>0.73332430969139151</c:v>
                </c:pt>
                <c:pt idx="2638">
                  <c:v>0.81494830132939433</c:v>
                </c:pt>
                <c:pt idx="2639">
                  <c:v>0.8969098118194978</c:v>
                </c:pt>
                <c:pt idx="2640">
                  <c:v>0.98212710341447484</c:v>
                </c:pt>
                <c:pt idx="2641">
                  <c:v>1.0178275564981112</c:v>
                </c:pt>
                <c:pt idx="2642">
                  <c:v>1.0259464481236937</c:v>
                </c:pt>
                <c:pt idx="2643">
                  <c:v>1.0211438362807539</c:v>
                </c:pt>
                <c:pt idx="2644">
                  <c:v>0.9130146282611975</c:v>
                </c:pt>
                <c:pt idx="2645">
                  <c:v>0.73643207512525244</c:v>
                </c:pt>
                <c:pt idx="2646">
                  <c:v>0.63133640552995385</c:v>
                </c:pt>
                <c:pt idx="2647">
                  <c:v>0.62010954616588432</c:v>
                </c:pt>
                <c:pt idx="2648">
                  <c:v>0.6329468557389768</c:v>
                </c:pt>
                <c:pt idx="2649">
                  <c:v>0.64463248080756674</c:v>
                </c:pt>
                <c:pt idx="2650">
                  <c:v>0.70116611849130739</c:v>
                </c:pt>
                <c:pt idx="2651">
                  <c:v>0.7834431395015754</c:v>
                </c:pt>
                <c:pt idx="2652">
                  <c:v>0.80959057153497349</c:v>
                </c:pt>
                <c:pt idx="2653">
                  <c:v>0.88004043580815461</c:v>
                </c:pt>
                <c:pt idx="2654">
                  <c:v>0.97883960658218272</c:v>
                </c:pt>
                <c:pt idx="2655">
                  <c:v>1.0137929413976223</c:v>
                </c:pt>
                <c:pt idx="2656">
                  <c:v>0.9566620462618034</c:v>
                </c:pt>
                <c:pt idx="2657">
                  <c:v>1.0027066874986248</c:v>
                </c:pt>
                <c:pt idx="2658">
                  <c:v>0.96449663973932509</c:v>
                </c:pt>
                <c:pt idx="2659">
                  <c:v>0.99527686136757443</c:v>
                </c:pt>
                <c:pt idx="2660">
                  <c:v>0.99589431483359903</c:v>
                </c:pt>
                <c:pt idx="2661">
                  <c:v>1.0308117514586959</c:v>
                </c:pt>
                <c:pt idx="2662">
                  <c:v>1.0671991336131041</c:v>
                </c:pt>
                <c:pt idx="2663">
                  <c:v>1.1001573741007193</c:v>
                </c:pt>
                <c:pt idx="2664">
                  <c:v>1.0984511981297487</c:v>
                </c:pt>
                <c:pt idx="2665">
                  <c:v>1.1592394889941824</c:v>
                </c:pt>
                <c:pt idx="2666">
                  <c:v>1.0876566904576259</c:v>
                </c:pt>
                <c:pt idx="2667">
                  <c:v>1.1535847568190782</c:v>
                </c:pt>
                <c:pt idx="2668">
                  <c:v>1.2019227880426617</c:v>
                </c:pt>
                <c:pt idx="2669">
                  <c:v>1.1892042292710072</c:v>
                </c:pt>
                <c:pt idx="2670">
                  <c:v>1.1553851283761254</c:v>
                </c:pt>
                <c:pt idx="2671">
                  <c:v>1.0986504270637112</c:v>
                </c:pt>
                <c:pt idx="2672">
                  <c:v>0.97732682551513539</c:v>
                </c:pt>
                <c:pt idx="2673">
                  <c:v>0.82034297320377603</c:v>
                </c:pt>
                <c:pt idx="2674">
                  <c:v>0.8437604390360296</c:v>
                </c:pt>
                <c:pt idx="2675">
                  <c:v>0.86915957605612781</c:v>
                </c:pt>
                <c:pt idx="2676">
                  <c:v>0.84274722729729035</c:v>
                </c:pt>
                <c:pt idx="2677">
                  <c:v>0.81002355404344406</c:v>
                </c:pt>
                <c:pt idx="2678">
                  <c:v>0.86154420191359504</c:v>
                </c:pt>
                <c:pt idx="2679">
                  <c:v>0.80015477879530506</c:v>
                </c:pt>
                <c:pt idx="2680">
                  <c:v>0.848474289412116</c:v>
                </c:pt>
                <c:pt idx="2681">
                  <c:v>0.87036288284645713</c:v>
                </c:pt>
                <c:pt idx="2682">
                  <c:v>0.87317535545023695</c:v>
                </c:pt>
                <c:pt idx="2683">
                  <c:v>0.79755583649388961</c:v>
                </c:pt>
                <c:pt idx="2684">
                  <c:v>0.77755877798113471</c:v>
                </c:pt>
                <c:pt idx="2685">
                  <c:v>0.86267240100845322</c:v>
                </c:pt>
                <c:pt idx="2686">
                  <c:v>0.91821893340137806</c:v>
                </c:pt>
                <c:pt idx="2687">
                  <c:v>0.95872771664604162</c:v>
                </c:pt>
                <c:pt idx="2688">
                  <c:v>0.98622752408444325</c:v>
                </c:pt>
                <c:pt idx="2689">
                  <c:v>1.035280795498779</c:v>
                </c:pt>
                <c:pt idx="2690">
                  <c:v>1.0682140829074389</c:v>
                </c:pt>
                <c:pt idx="2691">
                  <c:v>1.0488277124551151</c:v>
                </c:pt>
                <c:pt idx="2692">
                  <c:v>0.98988635178813478</c:v>
                </c:pt>
                <c:pt idx="2693">
                  <c:v>0.94042596280419888</c:v>
                </c:pt>
                <c:pt idx="2694">
                  <c:v>0.932716068691545</c:v>
                </c:pt>
                <c:pt idx="2695">
                  <c:v>0.99712849964106243</c:v>
                </c:pt>
                <c:pt idx="2696">
                  <c:v>0.94945089590667853</c:v>
                </c:pt>
                <c:pt idx="2697">
                  <c:v>0.85054479573349662</c:v>
                </c:pt>
                <c:pt idx="2698">
                  <c:v>0.85324459234608985</c:v>
                </c:pt>
                <c:pt idx="2699">
                  <c:v>0.88107659165823138</c:v>
                </c:pt>
                <c:pt idx="2700">
                  <c:v>0.85576898084370845</c:v>
                </c:pt>
                <c:pt idx="2701">
                  <c:v>0.85517001896519496</c:v>
                </c:pt>
                <c:pt idx="2702">
                  <c:v>0.82589332771160529</c:v>
                </c:pt>
                <c:pt idx="2703">
                  <c:v>0.9124199203817458</c:v>
                </c:pt>
                <c:pt idx="2704">
                  <c:v>0.99180143474891902</c:v>
                </c:pt>
                <c:pt idx="2705">
                  <c:v>0.95540699566839449</c:v>
                </c:pt>
                <c:pt idx="2706">
                  <c:v>0.88331111703545728</c:v>
                </c:pt>
                <c:pt idx="2707">
                  <c:v>0.74509966547786899</c:v>
                </c:pt>
                <c:pt idx="2708">
                  <c:v>0.64209537492402058</c:v>
                </c:pt>
                <c:pt idx="2709">
                  <c:v>0.66294061982493502</c:v>
                </c:pt>
                <c:pt idx="2710">
                  <c:v>0.71077705530161595</c:v>
                </c:pt>
                <c:pt idx="2711">
                  <c:v>0.72976643128734386</c:v>
                </c:pt>
                <c:pt idx="2712">
                  <c:v>0.76524112829845303</c:v>
                </c:pt>
                <c:pt idx="2713">
                  <c:v>0.87035275046692762</c:v>
                </c:pt>
                <c:pt idx="2714">
                  <c:v>0.98524023505012104</c:v>
                </c:pt>
                <c:pt idx="2715">
                  <c:v>1.033802064197201</c:v>
                </c:pt>
                <c:pt idx="2716">
                  <c:v>1.0315169457550806</c:v>
                </c:pt>
                <c:pt idx="2717">
                  <c:v>0.93511689941942577</c:v>
                </c:pt>
                <c:pt idx="2718">
                  <c:v>0.80186786877466942</c:v>
                </c:pt>
                <c:pt idx="2719">
                  <c:v>0.80619771706432619</c:v>
                </c:pt>
                <c:pt idx="2720">
                  <c:v>0.8232584083960004</c:v>
                </c:pt>
                <c:pt idx="2721">
                  <c:v>0.8022586491923438</c:v>
                </c:pt>
                <c:pt idx="2722">
                  <c:v>0.77740602243652823</c:v>
                </c:pt>
                <c:pt idx="2723">
                  <c:v>0.78975459999598685</c:v>
                </c:pt>
                <c:pt idx="2724">
                  <c:v>0.80880678981527709</c:v>
                </c:pt>
                <c:pt idx="2725">
                  <c:v>0.79228792813935145</c:v>
                </c:pt>
                <c:pt idx="2726">
                  <c:v>0.97561305445366031</c:v>
                </c:pt>
                <c:pt idx="2727">
                  <c:v>0.96956393835848931</c:v>
                </c:pt>
                <c:pt idx="2728">
                  <c:v>0.92979248358813948</c:v>
                </c:pt>
                <c:pt idx="2729">
                  <c:v>0.90844173564995889</c:v>
                </c:pt>
                <c:pt idx="2730">
                  <c:v>0.87116740351296451</c:v>
                </c:pt>
                <c:pt idx="2731">
                  <c:v>0.76085719234861793</c:v>
                </c:pt>
                <c:pt idx="2732">
                  <c:v>0.63824902043974141</c:v>
                </c:pt>
                <c:pt idx="2733">
                  <c:v>0.59367586801811512</c:v>
                </c:pt>
                <c:pt idx="2734">
                  <c:v>0.59054603759018987</c:v>
                </c:pt>
                <c:pt idx="2735">
                  <c:v>0.60340024061292974</c:v>
                </c:pt>
                <c:pt idx="2736">
                  <c:v>0.60757670017353715</c:v>
                </c:pt>
                <c:pt idx="2737">
                  <c:v>0.60024429698590331</c:v>
                </c:pt>
                <c:pt idx="2738">
                  <c:v>0.56675973066184926</c:v>
                </c:pt>
                <c:pt idx="2739">
                  <c:v>0.52534078993358968</c:v>
                </c:pt>
                <c:pt idx="2740">
                  <c:v>0.47452049921441908</c:v>
                </c:pt>
                <c:pt idx="2741">
                  <c:v>0.40107848702203414</c:v>
                </c:pt>
                <c:pt idx="2742">
                  <c:v>0.32234175065111537</c:v>
                </c:pt>
                <c:pt idx="2743">
                  <c:v>0.30297617766683166</c:v>
                </c:pt>
                <c:pt idx="2744">
                  <c:v>0.31321703261289902</c:v>
                </c:pt>
                <c:pt idx="2745">
                  <c:v>0.31288551624732391</c:v>
                </c:pt>
                <c:pt idx="2746">
                  <c:v>0.29921226040481663</c:v>
                </c:pt>
                <c:pt idx="2747">
                  <c:v>0.33351678591084205</c:v>
                </c:pt>
                <c:pt idx="2748">
                  <c:v>0.33230466185160867</c:v>
                </c:pt>
                <c:pt idx="2749">
                  <c:v>0.32910360628290708</c:v>
                </c:pt>
                <c:pt idx="2750">
                  <c:v>0.40523038043233001</c:v>
                </c:pt>
                <c:pt idx="2751">
                  <c:v>0.42325300364853247</c:v>
                </c:pt>
                <c:pt idx="2752">
                  <c:v>0.35866000484229521</c:v>
                </c:pt>
                <c:pt idx="2753">
                  <c:v>0.32878887553024977</c:v>
                </c:pt>
                <c:pt idx="2754">
                  <c:v>0.27993370427370662</c:v>
                </c:pt>
                <c:pt idx="2755">
                  <c:v>0.2302550744581511</c:v>
                </c:pt>
                <c:pt idx="2756">
                  <c:v>0.19711406891404401</c:v>
                </c:pt>
                <c:pt idx="2757">
                  <c:v>0.23819268673595775</c:v>
                </c:pt>
                <c:pt idx="2758">
                  <c:v>0.21837349397590364</c:v>
                </c:pt>
                <c:pt idx="2759">
                  <c:v>0.19680733364943892</c:v>
                </c:pt>
                <c:pt idx="2760">
                  <c:v>0.19833012621897522</c:v>
                </c:pt>
                <c:pt idx="2761">
                  <c:v>0.1986312637778436</c:v>
                </c:pt>
                <c:pt idx="2762">
                  <c:v>0.15345760281561621</c:v>
                </c:pt>
                <c:pt idx="2763">
                  <c:v>0.11894899927277329</c:v>
                </c:pt>
                <c:pt idx="2764">
                  <c:v>9.9884680209349777E-2</c:v>
                </c:pt>
                <c:pt idx="2765">
                  <c:v>6.297963777755039E-2</c:v>
                </c:pt>
                <c:pt idx="2766">
                  <c:v>3.1742092676984156E-2</c:v>
                </c:pt>
                <c:pt idx="2767">
                  <c:v>1.9477972896422505E-2</c:v>
                </c:pt>
                <c:pt idx="2768">
                  <c:v>1.2159916017846209E-2</c:v>
                </c:pt>
                <c:pt idx="2769">
                  <c:v>1.4240573892992867E-2</c:v>
                </c:pt>
                <c:pt idx="2770">
                  <c:v>2.7622767857142856E-2</c:v>
                </c:pt>
                <c:pt idx="2771">
                  <c:v>5.2991864228851368E-2</c:v>
                </c:pt>
                <c:pt idx="2772">
                  <c:v>6.2379533905729805E-2</c:v>
                </c:pt>
                <c:pt idx="2773">
                  <c:v>6.4330857079498829E-2</c:v>
                </c:pt>
                <c:pt idx="2774">
                  <c:v>6.7015970347320736E-2</c:v>
                </c:pt>
                <c:pt idx="2775">
                  <c:v>7.6819750341601239E-2</c:v>
                </c:pt>
                <c:pt idx="2776">
                  <c:v>8.2717353044702568E-2</c:v>
                </c:pt>
                <c:pt idx="2777">
                  <c:v>9.3753558171839765E-2</c:v>
                </c:pt>
                <c:pt idx="2778">
                  <c:v>9.9569480985410186E-2</c:v>
                </c:pt>
                <c:pt idx="2779">
                  <c:v>0.12414621331531939</c:v>
                </c:pt>
                <c:pt idx="2780">
                  <c:v>0.15348895582329317</c:v>
                </c:pt>
                <c:pt idx="2781">
                  <c:v>0.18510546706844597</c:v>
                </c:pt>
                <c:pt idx="2782">
                  <c:v>0.22577788274192598</c:v>
                </c:pt>
                <c:pt idx="2783">
                  <c:v>0.24505477059850772</c:v>
                </c:pt>
                <c:pt idx="2784">
                  <c:v>0.26233757710985695</c:v>
                </c:pt>
                <c:pt idx="2785">
                  <c:v>0.27125680882157566</c:v>
                </c:pt>
                <c:pt idx="2786">
                  <c:v>0.26724365750528545</c:v>
                </c:pt>
                <c:pt idx="2787">
                  <c:v>0.22979878633024592</c:v>
                </c:pt>
                <c:pt idx="2788">
                  <c:v>0.21315260743095335</c:v>
                </c:pt>
                <c:pt idx="2789">
                  <c:v>0.17741935483870969</c:v>
                </c:pt>
                <c:pt idx="2790">
                  <c:v>0.13920532215437895</c:v>
                </c:pt>
                <c:pt idx="2791">
                  <c:v>0.14490164898599342</c:v>
                </c:pt>
                <c:pt idx="2792">
                  <c:v>0.15295899599697069</c:v>
                </c:pt>
                <c:pt idx="2793">
                  <c:v>0.15331847024524095</c:v>
                </c:pt>
                <c:pt idx="2794">
                  <c:v>0.16508658008658009</c:v>
                </c:pt>
                <c:pt idx="2795">
                  <c:v>0.19135242729182791</c:v>
                </c:pt>
                <c:pt idx="2796">
                  <c:v>0.24678911147152938</c:v>
                </c:pt>
                <c:pt idx="2797">
                  <c:v>0.35385721669175974</c:v>
                </c:pt>
                <c:pt idx="2798">
                  <c:v>0.44001662356852611</c:v>
                </c:pt>
                <c:pt idx="2799">
                  <c:v>0.44948439711531979</c:v>
                </c:pt>
                <c:pt idx="2800">
                  <c:v>0.42320286574511568</c:v>
                </c:pt>
                <c:pt idx="2801">
                  <c:v>0.3330763824336273</c:v>
                </c:pt>
                <c:pt idx="2802">
                  <c:v>0.2657425367838388</c:v>
                </c:pt>
                <c:pt idx="2803">
                  <c:v>0.2170160598259164</c:v>
                </c:pt>
                <c:pt idx="2804">
                  <c:v>0.22660631208349052</c:v>
                </c:pt>
                <c:pt idx="2805">
                  <c:v>0.24347588468369996</c:v>
                </c:pt>
                <c:pt idx="2806">
                  <c:v>0.29078841151672791</c:v>
                </c:pt>
                <c:pt idx="2807">
                  <c:v>0.31724950633798327</c:v>
                </c:pt>
                <c:pt idx="2808">
                  <c:v>0.35979326795653327</c:v>
                </c:pt>
                <c:pt idx="2809">
                  <c:v>0.37460403046437957</c:v>
                </c:pt>
                <c:pt idx="2810">
                  <c:v>0.36172495892156531</c:v>
                </c:pt>
                <c:pt idx="2811">
                  <c:v>0.31906284670103763</c:v>
                </c:pt>
                <c:pt idx="2812">
                  <c:v>0.27229328600281533</c:v>
                </c:pt>
                <c:pt idx="2813">
                  <c:v>0.20658816124209922</c:v>
                </c:pt>
                <c:pt idx="2814">
                  <c:v>0.19147585581500795</c:v>
                </c:pt>
                <c:pt idx="2815">
                  <c:v>0.17646169790137314</c:v>
                </c:pt>
                <c:pt idx="2816">
                  <c:v>0.18232067872139857</c:v>
                </c:pt>
                <c:pt idx="2817">
                  <c:v>0.18952230926430516</c:v>
                </c:pt>
                <c:pt idx="2818">
                  <c:v>0.21586353944562903</c:v>
                </c:pt>
                <c:pt idx="2819">
                  <c:v>0.22291652817478785</c:v>
                </c:pt>
                <c:pt idx="2820">
                  <c:v>0.20662460567823343</c:v>
                </c:pt>
                <c:pt idx="2821">
                  <c:v>0.20046382847812194</c:v>
                </c:pt>
                <c:pt idx="2822">
                  <c:v>0.20607639311536866</c:v>
                </c:pt>
                <c:pt idx="2823">
                  <c:v>0.15444373870132411</c:v>
                </c:pt>
                <c:pt idx="2824">
                  <c:v>0.14977349285631317</c:v>
                </c:pt>
                <c:pt idx="2825">
                  <c:v>0.13355025984362565</c:v>
                </c:pt>
                <c:pt idx="2826">
                  <c:v>0.14729391967136035</c:v>
                </c:pt>
                <c:pt idx="2827">
                  <c:v>0.17314377626731697</c:v>
                </c:pt>
                <c:pt idx="2828">
                  <c:v>0.16667547429054591</c:v>
                </c:pt>
                <c:pt idx="2829">
                  <c:v>0.18429469195376502</c:v>
                </c:pt>
                <c:pt idx="2830">
                  <c:v>0.23150205448181405</c:v>
                </c:pt>
                <c:pt idx="2831">
                  <c:v>0.30068666425731844</c:v>
                </c:pt>
                <c:pt idx="2832">
                  <c:v>0.30331967497742895</c:v>
                </c:pt>
                <c:pt idx="2833">
                  <c:v>0.30849435963132987</c:v>
                </c:pt>
                <c:pt idx="2834">
                  <c:v>0.31361116079413343</c:v>
                </c:pt>
                <c:pt idx="2835">
                  <c:v>0.25353752778855992</c:v>
                </c:pt>
                <c:pt idx="2836">
                  <c:v>0.25388690744139347</c:v>
                </c:pt>
                <c:pt idx="2837">
                  <c:v>0.29405788076431449</c:v>
                </c:pt>
                <c:pt idx="2838">
                  <c:v>0.31784819190834224</c:v>
                </c:pt>
                <c:pt idx="2839">
                  <c:v>0.33289613902778925</c:v>
                </c:pt>
                <c:pt idx="2840">
                  <c:v>0.31660677281431154</c:v>
                </c:pt>
                <c:pt idx="2841">
                  <c:v>0.28941530458729636</c:v>
                </c:pt>
                <c:pt idx="2842">
                  <c:v>0.22162342494931611</c:v>
                </c:pt>
                <c:pt idx="2843">
                  <c:v>0.18744761106454319</c:v>
                </c:pt>
                <c:pt idx="2844">
                  <c:v>0.16482799847834359</c:v>
                </c:pt>
                <c:pt idx="2845">
                  <c:v>0.15512148907712886</c:v>
                </c:pt>
                <c:pt idx="2846">
                  <c:v>0.13245972316768775</c:v>
                </c:pt>
                <c:pt idx="2847">
                  <c:v>0.11451297795143735</c:v>
                </c:pt>
                <c:pt idx="2848">
                  <c:v>9.1453013881963946E-2</c:v>
                </c:pt>
                <c:pt idx="2849">
                  <c:v>7.6855100714749852E-2</c:v>
                </c:pt>
                <c:pt idx="2850">
                  <c:v>7.2815269998368584E-2</c:v>
                </c:pt>
                <c:pt idx="2851">
                  <c:v>6.4056939501779361E-2</c:v>
                </c:pt>
                <c:pt idx="2852">
                  <c:v>8.9727285572982901E-2</c:v>
                </c:pt>
                <c:pt idx="2853">
                  <c:v>0.13921258903823802</c:v>
                </c:pt>
                <c:pt idx="2854">
                  <c:v>0.17121707363968466</c:v>
                </c:pt>
                <c:pt idx="2855">
                  <c:v>0.20749505558207731</c:v>
                </c:pt>
                <c:pt idx="2856">
                  <c:v>0.20251769140499978</c:v>
                </c:pt>
                <c:pt idx="2857">
                  <c:v>0.19320440990421109</c:v>
                </c:pt>
                <c:pt idx="2858">
                  <c:v>0.18750226277107998</c:v>
                </c:pt>
                <c:pt idx="2859">
                  <c:v>0.19220844383915131</c:v>
                </c:pt>
                <c:pt idx="2860">
                  <c:v>0.218249163045801</c:v>
                </c:pt>
                <c:pt idx="2861">
                  <c:v>0.2098272658454339</c:v>
                </c:pt>
                <c:pt idx="2862">
                  <c:v>0.1797677534613667</c:v>
                </c:pt>
                <c:pt idx="2863">
                  <c:v>0.17492214583700572</c:v>
                </c:pt>
                <c:pt idx="2864">
                  <c:v>0.20534636228343581</c:v>
                </c:pt>
                <c:pt idx="2865">
                  <c:v>0.2826556614225571</c:v>
                </c:pt>
                <c:pt idx="2866">
                  <c:v>0.36702824795739108</c:v>
                </c:pt>
                <c:pt idx="2867">
                  <c:v>0.43627964972936212</c:v>
                </c:pt>
                <c:pt idx="2868">
                  <c:v>0.49181784312039661</c:v>
                </c:pt>
                <c:pt idx="2869">
                  <c:v>0.58142703893769387</c:v>
                </c:pt>
                <c:pt idx="2870">
                  <c:v>0.69736034376918365</c:v>
                </c:pt>
                <c:pt idx="2871">
                  <c:v>0.78469419879224989</c:v>
                </c:pt>
                <c:pt idx="2872">
                  <c:v>0.78911528716216228</c:v>
                </c:pt>
                <c:pt idx="2873">
                  <c:v>0.80079214112619546</c:v>
                </c:pt>
                <c:pt idx="2874">
                  <c:v>0.81160011975721924</c:v>
                </c:pt>
                <c:pt idx="2875">
                  <c:v>0.76839753379716047</c:v>
                </c:pt>
                <c:pt idx="2876">
                  <c:v>0.73850517657069914</c:v>
                </c:pt>
                <c:pt idx="2877">
                  <c:v>0.79366887496627592</c:v>
                </c:pt>
                <c:pt idx="2878">
                  <c:v>0.91369047619047628</c:v>
                </c:pt>
                <c:pt idx="2879">
                  <c:v>0.97897673152809916</c:v>
                </c:pt>
                <c:pt idx="2880">
                  <c:v>1.0231686180184643</c:v>
                </c:pt>
                <c:pt idx="2881">
                  <c:v>1.0243457743457745</c:v>
                </c:pt>
                <c:pt idx="2882">
                  <c:v>1.057620619874321</c:v>
                </c:pt>
                <c:pt idx="2883">
                  <c:v>1.0314446145992853</c:v>
                </c:pt>
                <c:pt idx="2884">
                  <c:v>0.99126552795031053</c:v>
                </c:pt>
                <c:pt idx="2885">
                  <c:v>0.85561754793395461</c:v>
                </c:pt>
                <c:pt idx="2886">
                  <c:v>0.78060182565263381</c:v>
                </c:pt>
                <c:pt idx="2887">
                  <c:v>0.8073583551367246</c:v>
                </c:pt>
                <c:pt idx="2888">
                  <c:v>0.77060948183821354</c:v>
                </c:pt>
                <c:pt idx="2889">
                  <c:v>0.76648223451769881</c:v>
                </c:pt>
                <c:pt idx="2890">
                  <c:v>0.74759813340653303</c:v>
                </c:pt>
                <c:pt idx="2891">
                  <c:v>0.74134287107787344</c:v>
                </c:pt>
                <c:pt idx="2892">
                  <c:v>0.77722223532463852</c:v>
                </c:pt>
                <c:pt idx="2893">
                  <c:v>0.78013283141918621</c:v>
                </c:pt>
                <c:pt idx="2894">
                  <c:v>0.92405094353512807</c:v>
                </c:pt>
                <c:pt idx="2895">
                  <c:v>0.89166767444672879</c:v>
                </c:pt>
                <c:pt idx="2896">
                  <c:v>0.91392513777226414</c:v>
                </c:pt>
                <c:pt idx="2897">
                  <c:v>0.88503913822295277</c:v>
                </c:pt>
                <c:pt idx="2898">
                  <c:v>0.82651314765831652</c:v>
                </c:pt>
                <c:pt idx="2899">
                  <c:v>0.75422647960706635</c:v>
                </c:pt>
                <c:pt idx="2900">
                  <c:v>0.70057576336398619</c:v>
                </c:pt>
                <c:pt idx="2901">
                  <c:v>0.72735472982803273</c:v>
                </c:pt>
                <c:pt idx="2902">
                  <c:v>0.80705979276909923</c:v>
                </c:pt>
                <c:pt idx="2903">
                  <c:v>0.85742527811285363</c:v>
                </c:pt>
                <c:pt idx="2904">
                  <c:v>0.86446315351834524</c:v>
                </c:pt>
                <c:pt idx="2905">
                  <c:v>0.86651765445465012</c:v>
                </c:pt>
                <c:pt idx="2906">
                  <c:v>0.82307425399028444</c:v>
                </c:pt>
                <c:pt idx="2907">
                  <c:v>0.74096264560182079</c:v>
                </c:pt>
                <c:pt idx="2908">
                  <c:v>0.69889520202020217</c:v>
                </c:pt>
                <c:pt idx="2909">
                  <c:v>0.59312755751876634</c:v>
                </c:pt>
                <c:pt idx="2910">
                  <c:v>0.48175387642291667</c:v>
                </c:pt>
                <c:pt idx="2911">
                  <c:v>0.44194204258551739</c:v>
                </c:pt>
                <c:pt idx="2912">
                  <c:v>0.46333787192250175</c:v>
                </c:pt>
                <c:pt idx="2913">
                  <c:v>0.57222503801317792</c:v>
                </c:pt>
                <c:pt idx="2914">
                  <c:v>0.6599654874892148</c:v>
                </c:pt>
                <c:pt idx="2915">
                  <c:v>0.68482102204973649</c:v>
                </c:pt>
                <c:pt idx="2916">
                  <c:v>0.71318410152463207</c:v>
                </c:pt>
                <c:pt idx="2917">
                  <c:v>0.73413001482546381</c:v>
                </c:pt>
                <c:pt idx="2918">
                  <c:v>0.77649303212898113</c:v>
                </c:pt>
                <c:pt idx="2919">
                  <c:v>0.76715215660562908</c:v>
                </c:pt>
                <c:pt idx="2920">
                  <c:v>0.68097478693181823</c:v>
                </c:pt>
                <c:pt idx="2921">
                  <c:v>0.67066128958342874</c:v>
                </c:pt>
                <c:pt idx="2922">
                  <c:v>0.59554553696126233</c:v>
                </c:pt>
                <c:pt idx="2923">
                  <c:v>0.51409554647547095</c:v>
                </c:pt>
                <c:pt idx="2924">
                  <c:v>0.48358077013078182</c:v>
                </c:pt>
                <c:pt idx="2925">
                  <c:v>0.52375343541421271</c:v>
                </c:pt>
                <c:pt idx="2926">
                  <c:v>0.56860439934412033</c:v>
                </c:pt>
                <c:pt idx="2927">
                  <c:v>0.59868008579442333</c:v>
                </c:pt>
                <c:pt idx="2928">
                  <c:v>0.61214061861288993</c:v>
                </c:pt>
                <c:pt idx="2929">
                  <c:v>0.60199521978592951</c:v>
                </c:pt>
                <c:pt idx="2930">
                  <c:v>0.61935594971586028</c:v>
                </c:pt>
                <c:pt idx="2931">
                  <c:v>0.64785189656907127</c:v>
                </c:pt>
                <c:pt idx="2932">
                  <c:v>0.68052593040654552</c:v>
                </c:pt>
                <c:pt idx="2933">
                  <c:v>0.58507969900477397</c:v>
                </c:pt>
                <c:pt idx="2934">
                  <c:v>0.46808460963765414</c:v>
                </c:pt>
                <c:pt idx="2935">
                  <c:v>0.40588589123799768</c:v>
                </c:pt>
                <c:pt idx="2936">
                  <c:v>0.42178165243173876</c:v>
                </c:pt>
                <c:pt idx="2937">
                  <c:v>0.47780126849894289</c:v>
                </c:pt>
                <c:pt idx="2938">
                  <c:v>0.51625881468709234</c:v>
                </c:pt>
                <c:pt idx="2939">
                  <c:v>0.54582222222222221</c:v>
                </c:pt>
                <c:pt idx="2940">
                  <c:v>0.57601016291871898</c:v>
                </c:pt>
                <c:pt idx="2941">
                  <c:v>0.59802885498989156</c:v>
                </c:pt>
                <c:pt idx="2942">
                  <c:v>0.63973103972628775</c:v>
                </c:pt>
                <c:pt idx="2943">
                  <c:v>0.65310072944453612</c:v>
                </c:pt>
                <c:pt idx="2944">
                  <c:v>0.65308132875143188</c:v>
                </c:pt>
                <c:pt idx="2945">
                  <c:v>0.63111509096050511</c:v>
                </c:pt>
                <c:pt idx="2946">
                  <c:v>0.58192887371000079</c:v>
                </c:pt>
                <c:pt idx="2947">
                  <c:v>0.51907664375567375</c:v>
                </c:pt>
                <c:pt idx="2948">
                  <c:v>0.45721680478941723</c:v>
                </c:pt>
                <c:pt idx="2949">
                  <c:v>0.50383141762452099</c:v>
                </c:pt>
                <c:pt idx="2950">
                  <c:v>0.55806143512955608</c:v>
                </c:pt>
                <c:pt idx="2951">
                  <c:v>0.54640129599629716</c:v>
                </c:pt>
                <c:pt idx="2952">
                  <c:v>0.59678632478632476</c:v>
                </c:pt>
                <c:pt idx="2953">
                  <c:v>0.62635653556369675</c:v>
                </c:pt>
                <c:pt idx="2954">
                  <c:v>0.6891543042026641</c:v>
                </c:pt>
                <c:pt idx="2955">
                  <c:v>0.82962767187551623</c:v>
                </c:pt>
                <c:pt idx="2956">
                  <c:v>0.90839169584792379</c:v>
                </c:pt>
                <c:pt idx="2957">
                  <c:v>0.81166751876866772</c:v>
                </c:pt>
                <c:pt idx="2958">
                  <c:v>0.74128993087988049</c:v>
                </c:pt>
                <c:pt idx="2959">
                  <c:v>0.76941812062704817</c:v>
                </c:pt>
                <c:pt idx="2960">
                  <c:v>0.81239257663773035</c:v>
                </c:pt>
                <c:pt idx="2961">
                  <c:v>0.82853652787004683</c:v>
                </c:pt>
                <c:pt idx="2962">
                  <c:v>0.834272412817891</c:v>
                </c:pt>
                <c:pt idx="2963">
                  <c:v>0.83642686276247014</c:v>
                </c:pt>
                <c:pt idx="2964">
                  <c:v>0.83994714820524108</c:v>
                </c:pt>
                <c:pt idx="2965">
                  <c:v>0.85459592426259845</c:v>
                </c:pt>
                <c:pt idx="2966">
                  <c:v>0.88224373736898998</c:v>
                </c:pt>
                <c:pt idx="2967">
                  <c:v>0.88958705224324641</c:v>
                </c:pt>
                <c:pt idx="2968">
                  <c:v>0.81124634527775885</c:v>
                </c:pt>
                <c:pt idx="2969">
                  <c:v>0.76388469489675026</c:v>
                </c:pt>
                <c:pt idx="2970">
                  <c:v>0.70976240425428117</c:v>
                </c:pt>
                <c:pt idx="2971">
                  <c:v>0.66849132859262295</c:v>
                </c:pt>
                <c:pt idx="2972">
                  <c:v>0.6715462511149588</c:v>
                </c:pt>
                <c:pt idx="2973">
                  <c:v>0.72665440151641858</c:v>
                </c:pt>
                <c:pt idx="2974">
                  <c:v>0.81535011968608917</c:v>
                </c:pt>
                <c:pt idx="2975">
                  <c:v>0.8405260594252314</c:v>
                </c:pt>
                <c:pt idx="2976">
                  <c:v>0.84273435401557883</c:v>
                </c:pt>
                <c:pt idx="2977">
                  <c:v>0.83172074258949025</c:v>
                </c:pt>
                <c:pt idx="2978">
                  <c:v>0.82457875707756323</c:v>
                </c:pt>
                <c:pt idx="2979">
                  <c:v>0.80385074231177078</c:v>
                </c:pt>
                <c:pt idx="2980">
                  <c:v>0.76270055599682285</c:v>
                </c:pt>
                <c:pt idx="2981">
                  <c:v>0.65445549908078282</c:v>
                </c:pt>
                <c:pt idx="2982">
                  <c:v>0.55936854944642511</c:v>
                </c:pt>
                <c:pt idx="2983">
                  <c:v>0.54953467092195418</c:v>
                </c:pt>
                <c:pt idx="2984">
                  <c:v>0.56633606119907487</c:v>
                </c:pt>
                <c:pt idx="2985">
                  <c:v>0.5536489151873768</c:v>
                </c:pt>
                <c:pt idx="2986">
                  <c:v>0.54632799558255107</c:v>
                </c:pt>
                <c:pt idx="2987">
                  <c:v>0.54307218611016073</c:v>
                </c:pt>
                <c:pt idx="2988">
                  <c:v>0.51848657217456162</c:v>
                </c:pt>
                <c:pt idx="2989">
                  <c:v>0.48419703528159985</c:v>
                </c:pt>
                <c:pt idx="2990">
                  <c:v>0.43738588900282616</c:v>
                </c:pt>
                <c:pt idx="2991">
                  <c:v>0.36128855857423375</c:v>
                </c:pt>
                <c:pt idx="2992">
                  <c:v>0.27142150745249477</c:v>
                </c:pt>
                <c:pt idx="2993">
                  <c:v>0.2147649409973354</c:v>
                </c:pt>
                <c:pt idx="2994">
                  <c:v>0.19224021764002946</c:v>
                </c:pt>
                <c:pt idx="2995">
                  <c:v>0.16023738872403562</c:v>
                </c:pt>
                <c:pt idx="2996">
                  <c:v>0.12590017382666999</c:v>
                </c:pt>
                <c:pt idx="2997">
                  <c:v>0.11031767022245732</c:v>
                </c:pt>
                <c:pt idx="2998">
                  <c:v>0.10296778289160452</c:v>
                </c:pt>
                <c:pt idx="2999">
                  <c:v>9.7780505267464471E-2</c:v>
                </c:pt>
                <c:pt idx="3000">
                  <c:v>8.9405629375625087E-2</c:v>
                </c:pt>
                <c:pt idx="3001">
                  <c:v>9.3168838775809032E-2</c:v>
                </c:pt>
                <c:pt idx="3002">
                  <c:v>7.4101409698132698E-2</c:v>
                </c:pt>
                <c:pt idx="3003">
                  <c:v>6.0153958944281521E-2</c:v>
                </c:pt>
                <c:pt idx="3004">
                  <c:v>6.0359667435812905E-2</c:v>
                </c:pt>
                <c:pt idx="3005">
                  <c:v>5.0940027308055871E-2</c:v>
                </c:pt>
                <c:pt idx="3006">
                  <c:v>2.2111856257117549E-2</c:v>
                </c:pt>
                <c:pt idx="3007">
                  <c:v>4.7579226621298201E-3</c:v>
                </c:pt>
                <c:pt idx="3008">
                  <c:v>3.3658886497820451E-3</c:v>
                </c:pt>
                <c:pt idx="3009">
                  <c:v>4.0314891994225159E-3</c:v>
                </c:pt>
                <c:pt idx="3010">
                  <c:v>5.3215077605321508E-3</c:v>
                </c:pt>
                <c:pt idx="3011">
                  <c:v>7.3466840642196626E-3</c:v>
                </c:pt>
                <c:pt idx="3012">
                  <c:v>1.7579875668642473E-2</c:v>
                </c:pt>
                <c:pt idx="3013">
                  <c:v>2.8018460622301625E-2</c:v>
                </c:pt>
                <c:pt idx="3014">
                  <c:v>3.0856691189882657E-2</c:v>
                </c:pt>
                <c:pt idx="3015">
                  <c:v>3.3757190432939753E-2</c:v>
                </c:pt>
                <c:pt idx="3016">
                  <c:v>3.7594202061617538E-2</c:v>
                </c:pt>
                <c:pt idx="3017">
                  <c:v>4.09433158119051E-2</c:v>
                </c:pt>
                <c:pt idx="3018">
                  <c:v>4.0812715637993574E-2</c:v>
                </c:pt>
                <c:pt idx="3019">
                  <c:v>3.7830712161623592E-2</c:v>
                </c:pt>
                <c:pt idx="3020">
                  <c:v>4.5030388605807596E-2</c:v>
                </c:pt>
                <c:pt idx="3021">
                  <c:v>3.8073234800772231E-2</c:v>
                </c:pt>
                <c:pt idx="3022">
                  <c:v>5.0566606183025775E-2</c:v>
                </c:pt>
                <c:pt idx="3023">
                  <c:v>6.9966996699669964E-2</c:v>
                </c:pt>
                <c:pt idx="3024">
                  <c:v>7.4668500898009096E-2</c:v>
                </c:pt>
                <c:pt idx="3025">
                  <c:v>8.2907616113559263E-2</c:v>
                </c:pt>
                <c:pt idx="3026">
                  <c:v>6.3197899933393406E-2</c:v>
                </c:pt>
                <c:pt idx="3027">
                  <c:v>3.1141333745460166E-2</c:v>
                </c:pt>
                <c:pt idx="3028">
                  <c:v>2.6077141633908067E-2</c:v>
                </c:pt>
                <c:pt idx="3029">
                  <c:v>2.5199136454998876E-2</c:v>
                </c:pt>
                <c:pt idx="3030">
                  <c:v>3.5925079321756336E-2</c:v>
                </c:pt>
                <c:pt idx="3031">
                  <c:v>4.1951310396224066E-2</c:v>
                </c:pt>
                <c:pt idx="3032">
                  <c:v>4.6147045822896714E-2</c:v>
                </c:pt>
                <c:pt idx="3033">
                  <c:v>5.519065333643338E-2</c:v>
                </c:pt>
                <c:pt idx="3034">
                  <c:v>7.2795160496685871E-2</c:v>
                </c:pt>
                <c:pt idx="3035">
                  <c:v>9.0054428500742217E-2</c:v>
                </c:pt>
                <c:pt idx="3036">
                  <c:v>0.11318030468220526</c:v>
                </c:pt>
                <c:pt idx="3037">
                  <c:v>0.1344563092194315</c:v>
                </c:pt>
                <c:pt idx="3038">
                  <c:v>0.14224441653135625</c:v>
                </c:pt>
                <c:pt idx="3039">
                  <c:v>0.1639673083255995</c:v>
                </c:pt>
                <c:pt idx="3040">
                  <c:v>0.1602165463631316</c:v>
                </c:pt>
                <c:pt idx="3041">
                  <c:v>0.16710576870300237</c:v>
                </c:pt>
                <c:pt idx="3042">
                  <c:v>0.16781188397634469</c:v>
                </c:pt>
                <c:pt idx="3043">
                  <c:v>0.1838056680161943</c:v>
                </c:pt>
                <c:pt idx="3044">
                  <c:v>0.20803553045677811</c:v>
                </c:pt>
                <c:pt idx="3045">
                  <c:v>0.27889195287039359</c:v>
                </c:pt>
                <c:pt idx="3046">
                  <c:v>0.40685407024230874</c:v>
                </c:pt>
                <c:pt idx="3047">
                  <c:v>0.53560415919684479</c:v>
                </c:pt>
                <c:pt idx="3048">
                  <c:v>0.72614653754796277</c:v>
                </c:pt>
                <c:pt idx="3049">
                  <c:v>0.89506710192237937</c:v>
                </c:pt>
                <c:pt idx="3050">
                  <c:v>1.0492897423085157</c:v>
                </c:pt>
                <c:pt idx="3051">
                  <c:v>1.1273290843868631</c:v>
                </c:pt>
                <c:pt idx="3052">
                  <c:v>1.1070557204088363</c:v>
                </c:pt>
                <c:pt idx="3053">
                  <c:v>0.9767700344559298</c:v>
                </c:pt>
                <c:pt idx="3054">
                  <c:v>0.93469620885789773</c:v>
                </c:pt>
                <c:pt idx="3055">
                  <c:v>0.92039812072766114</c:v>
                </c:pt>
                <c:pt idx="3056">
                  <c:v>0.8929818358598135</c:v>
                </c:pt>
                <c:pt idx="3057">
                  <c:v>0.831746993164316</c:v>
                </c:pt>
                <c:pt idx="3058">
                  <c:v>0.7716707388267855</c:v>
                </c:pt>
                <c:pt idx="3059">
                  <c:v>0.73817972145835198</c:v>
                </c:pt>
                <c:pt idx="3060">
                  <c:v>0.77182187689474746</c:v>
                </c:pt>
                <c:pt idx="3061">
                  <c:v>0.72042763006313082</c:v>
                </c:pt>
                <c:pt idx="3062">
                  <c:v>0.6409051682807555</c:v>
                </c:pt>
                <c:pt idx="3063">
                  <c:v>0.53051021908542872</c:v>
                </c:pt>
                <c:pt idx="3064">
                  <c:v>0.39650274750861508</c:v>
                </c:pt>
                <c:pt idx="3065">
                  <c:v>0.35802790257744144</c:v>
                </c:pt>
                <c:pt idx="3066">
                  <c:v>0.37861551044687336</c:v>
                </c:pt>
                <c:pt idx="3067">
                  <c:v>0.35021854511395573</c:v>
                </c:pt>
                <c:pt idx="3068">
                  <c:v>0.29792153944290883</c:v>
                </c:pt>
                <c:pt idx="3069">
                  <c:v>0.27322786225402507</c:v>
                </c:pt>
                <c:pt idx="3070">
                  <c:v>0.24443419434194341</c:v>
                </c:pt>
                <c:pt idx="3071">
                  <c:v>0.24042041448387202</c:v>
                </c:pt>
                <c:pt idx="3072">
                  <c:v>0.22997380863294667</c:v>
                </c:pt>
                <c:pt idx="3073">
                  <c:v>0.20845051100898551</c:v>
                </c:pt>
                <c:pt idx="3074">
                  <c:v>0.18848700967906265</c:v>
                </c:pt>
                <c:pt idx="3075">
                  <c:v>0.16060876167838634</c:v>
                </c:pt>
                <c:pt idx="3076">
                  <c:v>0.1059540258761462</c:v>
                </c:pt>
                <c:pt idx="3077">
                  <c:v>6.525906525906526E-2</c:v>
                </c:pt>
                <c:pt idx="3078">
                  <c:v>4.1944074567243667E-2</c:v>
                </c:pt>
                <c:pt idx="3079">
                  <c:v>4.6455261563320548E-2</c:v>
                </c:pt>
                <c:pt idx="3080">
                  <c:v>5.772461973823842E-2</c:v>
                </c:pt>
                <c:pt idx="3081">
                  <c:v>7.5932600859860172E-2</c:v>
                </c:pt>
                <c:pt idx="3082">
                  <c:v>0.11600403721256802</c:v>
                </c:pt>
                <c:pt idx="3083">
                  <c:v>0.14448941260648884</c:v>
                </c:pt>
                <c:pt idx="3084">
                  <c:v>0.17128728379315744</c:v>
                </c:pt>
                <c:pt idx="3085">
                  <c:v>0.19283357979752019</c:v>
                </c:pt>
                <c:pt idx="3086">
                  <c:v>0.20740844806593611</c:v>
                </c:pt>
                <c:pt idx="3087">
                  <c:v>0.22081766917293236</c:v>
                </c:pt>
                <c:pt idx="3088">
                  <c:v>0.21685947488331969</c:v>
                </c:pt>
                <c:pt idx="3089">
                  <c:v>0.24267019287766178</c:v>
                </c:pt>
                <c:pt idx="3090">
                  <c:v>0.26938560337390971</c:v>
                </c:pt>
                <c:pt idx="3091">
                  <c:v>0.28198032753892982</c:v>
                </c:pt>
                <c:pt idx="3092">
                  <c:v>0.28347026300831912</c:v>
                </c:pt>
                <c:pt idx="3093">
                  <c:v>0.29566584820812752</c:v>
                </c:pt>
                <c:pt idx="3094">
                  <c:v>0.37520520459658291</c:v>
                </c:pt>
                <c:pt idx="3095">
                  <c:v>0.38753343861797795</c:v>
                </c:pt>
                <c:pt idx="3096">
                  <c:v>0.40108666306695467</c:v>
                </c:pt>
                <c:pt idx="3097">
                  <c:v>0.42233092737659489</c:v>
                </c:pt>
                <c:pt idx="3098">
                  <c:v>0.3621139699650836</c:v>
                </c:pt>
                <c:pt idx="3099">
                  <c:v>0.28524568437096187</c:v>
                </c:pt>
                <c:pt idx="3100">
                  <c:v>0.25785770132916341</c:v>
                </c:pt>
                <c:pt idx="3101">
                  <c:v>0.20367327467401675</c:v>
                </c:pt>
                <c:pt idx="3102">
                  <c:v>0.14624087002603625</c:v>
                </c:pt>
                <c:pt idx="3103">
                  <c:v>0.12761478752795682</c:v>
                </c:pt>
                <c:pt idx="3104">
                  <c:v>0.11682844366888429</c:v>
                </c:pt>
                <c:pt idx="3105">
                  <c:v>0.1207473508087005</c:v>
                </c:pt>
                <c:pt idx="3106">
                  <c:v>0.12809331500257776</c:v>
                </c:pt>
                <c:pt idx="3107">
                  <c:v>0.14069368735713025</c:v>
                </c:pt>
                <c:pt idx="3108">
                  <c:v>0.14937506792739921</c:v>
                </c:pt>
                <c:pt idx="3109">
                  <c:v>0.15707911107203307</c:v>
                </c:pt>
                <c:pt idx="3110">
                  <c:v>0.16339380761477654</c:v>
                </c:pt>
                <c:pt idx="3111">
                  <c:v>0.17828607953248413</c:v>
                </c:pt>
                <c:pt idx="3112">
                  <c:v>0.16747781893358601</c:v>
                </c:pt>
                <c:pt idx="3113">
                  <c:v>0.181653684047929</c:v>
                </c:pt>
                <c:pt idx="3114">
                  <c:v>0.16979118329466356</c:v>
                </c:pt>
                <c:pt idx="3115">
                  <c:v>0.15336175634617269</c:v>
                </c:pt>
                <c:pt idx="3116">
                  <c:v>0.16150102136030059</c:v>
                </c:pt>
                <c:pt idx="3117">
                  <c:v>0.16318678361943711</c:v>
                </c:pt>
                <c:pt idx="3118">
                  <c:v>0.16518443356810314</c:v>
                </c:pt>
                <c:pt idx="3119">
                  <c:v>0.13989905526077392</c:v>
                </c:pt>
                <c:pt idx="3120">
                  <c:v>0.10993207394140109</c:v>
                </c:pt>
                <c:pt idx="3121">
                  <c:v>9.0373077718778033E-2</c:v>
                </c:pt>
                <c:pt idx="3122">
                  <c:v>6.1987581901135465E-2</c:v>
                </c:pt>
                <c:pt idx="3123">
                  <c:v>4.9706523561965449E-2</c:v>
                </c:pt>
                <c:pt idx="3124">
                  <c:v>3.2749523898723112E-2</c:v>
                </c:pt>
                <c:pt idx="3125">
                  <c:v>2.4217908644374984E-2</c:v>
                </c:pt>
                <c:pt idx="3126">
                  <c:v>2.0821545773452528E-2</c:v>
                </c:pt>
                <c:pt idx="3127">
                  <c:v>1.7370372779910218E-2</c:v>
                </c:pt>
                <c:pt idx="3128">
                  <c:v>1.8257671878024129E-2</c:v>
                </c:pt>
                <c:pt idx="3129">
                  <c:v>1.2485237050784545E-2</c:v>
                </c:pt>
                <c:pt idx="3130">
                  <c:v>1.015900117383417E-2</c:v>
                </c:pt>
                <c:pt idx="3131">
                  <c:v>9.4010382585176452E-3</c:v>
                </c:pt>
                <c:pt idx="3132">
                  <c:v>1.1748886831547853E-2</c:v>
                </c:pt>
                <c:pt idx="3133">
                  <c:v>1.732122587968218E-2</c:v>
                </c:pt>
                <c:pt idx="3134">
                  <c:v>2.8468562981330915E-2</c:v>
                </c:pt>
                <c:pt idx="3135">
                  <c:v>5.1817104722296108E-2</c:v>
                </c:pt>
                <c:pt idx="3136">
                  <c:v>8.4858372345959235E-2</c:v>
                </c:pt>
                <c:pt idx="3137">
                  <c:v>0.14006164432657159</c:v>
                </c:pt>
                <c:pt idx="3138">
                  <c:v>0.20163697880386108</c:v>
                </c:pt>
                <c:pt idx="3139">
                  <c:v>0.24839995803168607</c:v>
                </c:pt>
                <c:pt idx="3140">
                  <c:v>0.30498755815211509</c:v>
                </c:pt>
                <c:pt idx="3141">
                  <c:v>0.40092398152036962</c:v>
                </c:pt>
                <c:pt idx="3142">
                  <c:v>0.4969293445214642</c:v>
                </c:pt>
                <c:pt idx="3143">
                  <c:v>0.56135332412704686</c:v>
                </c:pt>
                <c:pt idx="3144">
                  <c:v>0.61634459155805998</c:v>
                </c:pt>
                <c:pt idx="3145">
                  <c:v>0.65889243876464321</c:v>
                </c:pt>
                <c:pt idx="3146">
                  <c:v>0.70807875084860838</c:v>
                </c:pt>
                <c:pt idx="3147">
                  <c:v>0.79001745698101122</c:v>
                </c:pt>
                <c:pt idx="3148">
                  <c:v>0.86207020185722982</c:v>
                </c:pt>
                <c:pt idx="3149">
                  <c:v>0.85863055629491614</c:v>
                </c:pt>
                <c:pt idx="3150">
                  <c:v>0.85592422816550795</c:v>
                </c:pt>
                <c:pt idx="3151">
                  <c:v>0.87875119644164179</c:v>
                </c:pt>
                <c:pt idx="3152">
                  <c:v>0.91579968734839101</c:v>
                </c:pt>
                <c:pt idx="3153">
                  <c:v>0.94839565102094936</c:v>
                </c:pt>
                <c:pt idx="3154">
                  <c:v>0.97759402507335291</c:v>
                </c:pt>
                <c:pt idx="3155">
                  <c:v>1.022477076627627</c:v>
                </c:pt>
                <c:pt idx="3156">
                  <c:v>1.0420846113459892</c:v>
                </c:pt>
                <c:pt idx="3157">
                  <c:v>1.0358011424693174</c:v>
                </c:pt>
                <c:pt idx="3158">
                  <c:v>1.0131594169366036</c:v>
                </c:pt>
                <c:pt idx="3159">
                  <c:v>0.94328938713644306</c:v>
                </c:pt>
                <c:pt idx="3160">
                  <c:v>0.87025000674236097</c:v>
                </c:pt>
                <c:pt idx="3161">
                  <c:v>0.82296535052377107</c:v>
                </c:pt>
                <c:pt idx="3162">
                  <c:v>0.8324905893589527</c:v>
                </c:pt>
                <c:pt idx="3163">
                  <c:v>0.8700660780071342</c:v>
                </c:pt>
                <c:pt idx="3164">
                  <c:v>0.89111215889668183</c:v>
                </c:pt>
                <c:pt idx="3165">
                  <c:v>0.94166411746711542</c:v>
                </c:pt>
                <c:pt idx="3166">
                  <c:v>0.98534738228514984</c:v>
                </c:pt>
                <c:pt idx="3167">
                  <c:v>1.0240703272169123</c:v>
                </c:pt>
                <c:pt idx="3168">
                  <c:v>1.0388321167883212</c:v>
                </c:pt>
                <c:pt idx="3169">
                  <c:v>0.99698907144450233</c:v>
                </c:pt>
                <c:pt idx="3170">
                  <c:v>0.91564769178674887</c:v>
                </c:pt>
                <c:pt idx="3171">
                  <c:v>0.8409141916660432</c:v>
                </c:pt>
                <c:pt idx="3172">
                  <c:v>0.77735820557359714</c:v>
                </c:pt>
                <c:pt idx="3173">
                  <c:v>0.6459443884166548</c:v>
                </c:pt>
                <c:pt idx="3174">
                  <c:v>0.51316095970184017</c:v>
                </c:pt>
                <c:pt idx="3175">
                  <c:v>0.40462826785124711</c:v>
                </c:pt>
                <c:pt idx="3176">
                  <c:v>0.3232283129625953</c:v>
                </c:pt>
                <c:pt idx="3177">
                  <c:v>0.2537330064631157</c:v>
                </c:pt>
                <c:pt idx="3178">
                  <c:v>0.2233823404915766</c:v>
                </c:pt>
                <c:pt idx="3179">
                  <c:v>0.24142988611526517</c:v>
                </c:pt>
                <c:pt idx="3180">
                  <c:v>0.25658411663708058</c:v>
                </c:pt>
                <c:pt idx="3181">
                  <c:v>0.19671305892804264</c:v>
                </c:pt>
                <c:pt idx="3182">
                  <c:v>0.16750948166877372</c:v>
                </c:pt>
                <c:pt idx="3183">
                  <c:v>0.16243476221192751</c:v>
                </c:pt>
                <c:pt idx="3184">
                  <c:v>0.16955844733622513</c:v>
                </c:pt>
                <c:pt idx="3185">
                  <c:v>0.16417132828781397</c:v>
                </c:pt>
                <c:pt idx="3186">
                  <c:v>0.13689793577981652</c:v>
                </c:pt>
                <c:pt idx="3187">
                  <c:v>0.15461640851887704</c:v>
                </c:pt>
                <c:pt idx="3188">
                  <c:v>0.20337642585551327</c:v>
                </c:pt>
                <c:pt idx="3189">
                  <c:v>0.21657274186947076</c:v>
                </c:pt>
                <c:pt idx="3190">
                  <c:v>0.1981036917490418</c:v>
                </c:pt>
                <c:pt idx="3191">
                  <c:v>0.21851317214002167</c:v>
                </c:pt>
                <c:pt idx="3192">
                  <c:v>0.20546098744512051</c:v>
                </c:pt>
                <c:pt idx="3193">
                  <c:v>0.19509008117204513</c:v>
                </c:pt>
                <c:pt idx="3194">
                  <c:v>0.15775718698028038</c:v>
                </c:pt>
                <c:pt idx="3195">
                  <c:v>9.7692064495731895E-2</c:v>
                </c:pt>
                <c:pt idx="3196">
                  <c:v>7.4456218627997783E-2</c:v>
                </c:pt>
                <c:pt idx="3197">
                  <c:v>6.2677734224886636E-2</c:v>
                </c:pt>
                <c:pt idx="3198">
                  <c:v>5.0278156817466148E-2</c:v>
                </c:pt>
                <c:pt idx="3199">
                  <c:v>5.6777428671173309E-2</c:v>
                </c:pt>
                <c:pt idx="3200">
                  <c:v>6.2097474762603723E-2</c:v>
                </c:pt>
                <c:pt idx="3201">
                  <c:v>7.1226318708585104E-2</c:v>
                </c:pt>
                <c:pt idx="3202">
                  <c:v>8.8394714482435327E-2</c:v>
                </c:pt>
                <c:pt idx="3203">
                  <c:v>0.10966776414247233</c:v>
                </c:pt>
                <c:pt idx="3204">
                  <c:v>0.11506549554751845</c:v>
                </c:pt>
                <c:pt idx="3205">
                  <c:v>0.13764582433183137</c:v>
                </c:pt>
                <c:pt idx="3206">
                  <c:v>0.15214564369310793</c:v>
                </c:pt>
                <c:pt idx="3207">
                  <c:v>0.16492553223890596</c:v>
                </c:pt>
                <c:pt idx="3208">
                  <c:v>0.1490413125123542</c:v>
                </c:pt>
                <c:pt idx="3209">
                  <c:v>0.11981774202621365</c:v>
                </c:pt>
                <c:pt idx="3210">
                  <c:v>8.6566299942096123E-2</c:v>
                </c:pt>
                <c:pt idx="3211">
                  <c:v>5.1395314132219067E-2</c:v>
                </c:pt>
                <c:pt idx="3212">
                  <c:v>5.0249573898222537E-2</c:v>
                </c:pt>
                <c:pt idx="3213">
                  <c:v>3.7117151007868589E-2</c:v>
                </c:pt>
                <c:pt idx="3214">
                  <c:v>4.4253498166010055E-2</c:v>
                </c:pt>
                <c:pt idx="3215">
                  <c:v>8.4037222619899793E-2</c:v>
                </c:pt>
                <c:pt idx="3216">
                  <c:v>0.1002330126277811</c:v>
                </c:pt>
                <c:pt idx="3217">
                  <c:v>0.10507787089121035</c:v>
                </c:pt>
                <c:pt idx="3218">
                  <c:v>0.13352629774917166</c:v>
                </c:pt>
                <c:pt idx="3219">
                  <c:v>0.15625581308828454</c:v>
                </c:pt>
                <c:pt idx="3220">
                  <c:v>0.13524775165804367</c:v>
                </c:pt>
                <c:pt idx="3221">
                  <c:v>9.659156224853431E-2</c:v>
                </c:pt>
                <c:pt idx="3222">
                  <c:v>7.4280681150910161E-2</c:v>
                </c:pt>
                <c:pt idx="3223">
                  <c:v>7.2008761522314502E-2</c:v>
                </c:pt>
                <c:pt idx="3224">
                  <c:v>7.1087148585279661E-2</c:v>
                </c:pt>
                <c:pt idx="3225">
                  <c:v>7.4651922818641719E-2</c:v>
                </c:pt>
                <c:pt idx="3226">
                  <c:v>8.2151246837730382E-2</c:v>
                </c:pt>
                <c:pt idx="3227">
                  <c:v>9.5186896646383329E-2</c:v>
                </c:pt>
                <c:pt idx="3228">
                  <c:v>0.12322524503068612</c:v>
                </c:pt>
                <c:pt idx="3229">
                  <c:v>0.12196603359263673</c:v>
                </c:pt>
                <c:pt idx="3230">
                  <c:v>0.14109170838930274</c:v>
                </c:pt>
                <c:pt idx="3231">
                  <c:v>0.14063430613460393</c:v>
                </c:pt>
                <c:pt idx="3232">
                  <c:v>0.11408170043175025</c:v>
                </c:pt>
                <c:pt idx="3233">
                  <c:v>9.4308237506328191E-2</c:v>
                </c:pt>
                <c:pt idx="3234">
                  <c:v>7.7823273683146302E-2</c:v>
                </c:pt>
                <c:pt idx="3235">
                  <c:v>5.0915150232754967E-2</c:v>
                </c:pt>
                <c:pt idx="3236">
                  <c:v>4.6524297232512529E-2</c:v>
                </c:pt>
                <c:pt idx="3237">
                  <c:v>7.8784906531271626E-2</c:v>
                </c:pt>
                <c:pt idx="3238">
                  <c:v>9.2192878051918822E-2</c:v>
                </c:pt>
                <c:pt idx="3239">
                  <c:v>0.10073710073710075</c:v>
                </c:pt>
                <c:pt idx="3240">
                  <c:v>0.14233168656016734</c:v>
                </c:pt>
                <c:pt idx="3241">
                  <c:v>0.23452040741554919</c:v>
                </c:pt>
                <c:pt idx="3242">
                  <c:v>0.33967987136383571</c:v>
                </c:pt>
                <c:pt idx="3243">
                  <c:v>0.40888240941578069</c:v>
                </c:pt>
                <c:pt idx="3244">
                  <c:v>0.45651017422529588</c:v>
                </c:pt>
                <c:pt idx="3245">
                  <c:v>0.44921940107783759</c:v>
                </c:pt>
                <c:pt idx="3246">
                  <c:v>0.44398864747549438</c:v>
                </c:pt>
                <c:pt idx="3247">
                  <c:v>0.46490677662244534</c:v>
                </c:pt>
                <c:pt idx="3248">
                  <c:v>0.50161062571705939</c:v>
                </c:pt>
                <c:pt idx="3249">
                  <c:v>0.51410746281544806</c:v>
                </c:pt>
                <c:pt idx="3250">
                  <c:v>0.51664447403462055</c:v>
                </c:pt>
                <c:pt idx="3251">
                  <c:v>0.51558800315706388</c:v>
                </c:pt>
                <c:pt idx="3252">
                  <c:v>0.48720532819209544</c:v>
                </c:pt>
                <c:pt idx="3253">
                  <c:v>0.4765271303998751</c:v>
                </c:pt>
                <c:pt idx="3254">
                  <c:v>0.45567019827805089</c:v>
                </c:pt>
                <c:pt idx="3255">
                  <c:v>0.42721224527775192</c:v>
                </c:pt>
                <c:pt idx="3256">
                  <c:v>0.37626334911372894</c:v>
                </c:pt>
                <c:pt idx="3257">
                  <c:v>0.33874778499704661</c:v>
                </c:pt>
                <c:pt idx="3258">
                  <c:v>0.30743088529489748</c:v>
                </c:pt>
                <c:pt idx="3259">
                  <c:v>0.29031435637253655</c:v>
                </c:pt>
                <c:pt idx="3260">
                  <c:v>0.32472559520653271</c:v>
                </c:pt>
                <c:pt idx="3261">
                  <c:v>0.36092574187136162</c:v>
                </c:pt>
                <c:pt idx="3262">
                  <c:v>0.38696333437793801</c:v>
                </c:pt>
                <c:pt idx="3263">
                  <c:v>0.39027092355725657</c:v>
                </c:pt>
                <c:pt idx="3264">
                  <c:v>0.37996599701606465</c:v>
                </c:pt>
                <c:pt idx="3265">
                  <c:v>0.38504389521559773</c:v>
                </c:pt>
                <c:pt idx="3266">
                  <c:v>0.38514910467112873</c:v>
                </c:pt>
                <c:pt idx="3267">
                  <c:v>0.35324232081911267</c:v>
                </c:pt>
                <c:pt idx="3268">
                  <c:v>0.30663856691253949</c:v>
                </c:pt>
                <c:pt idx="3269">
                  <c:v>0.21311430072734316</c:v>
                </c:pt>
                <c:pt idx="3270">
                  <c:v>0.1404015531773842</c:v>
                </c:pt>
                <c:pt idx="3271">
                  <c:v>0.11788854989231873</c:v>
                </c:pt>
                <c:pt idx="3272">
                  <c:v>0.11466708124194908</c:v>
                </c:pt>
                <c:pt idx="3273">
                  <c:v>0.10813413886699939</c:v>
                </c:pt>
                <c:pt idx="3274">
                  <c:v>8.1497119232968304E-2</c:v>
                </c:pt>
                <c:pt idx="3275">
                  <c:v>7.2414954530144834E-2</c:v>
                </c:pt>
                <c:pt idx="3276">
                  <c:v>5.1656985155015468E-2</c:v>
                </c:pt>
                <c:pt idx="3277">
                  <c:v>2.9717614399162626E-2</c:v>
                </c:pt>
                <c:pt idx="3278">
                  <c:v>1.8691147664786537E-2</c:v>
                </c:pt>
                <c:pt idx="3279">
                  <c:v>2.1641594088149911E-2</c:v>
                </c:pt>
                <c:pt idx="3280">
                  <c:v>2.0396887517841522E-2</c:v>
                </c:pt>
                <c:pt idx="3281">
                  <c:v>4.461309312717214E-2</c:v>
                </c:pt>
                <c:pt idx="3282">
                  <c:v>7.7844311377245512E-2</c:v>
                </c:pt>
                <c:pt idx="3283">
                  <c:v>0.16695357329160146</c:v>
                </c:pt>
                <c:pt idx="3284">
                  <c:v>0.30164188752424043</c:v>
                </c:pt>
                <c:pt idx="3285">
                  <c:v>0.44970798182998056</c:v>
                </c:pt>
                <c:pt idx="3286">
                  <c:v>0.63644321028643858</c:v>
                </c:pt>
                <c:pt idx="3287">
                  <c:v>0.783672152307196</c:v>
                </c:pt>
                <c:pt idx="3288">
                  <c:v>0.92262975778546719</c:v>
                </c:pt>
                <c:pt idx="3289">
                  <c:v>0.95153507238268398</c:v>
                </c:pt>
                <c:pt idx="3290">
                  <c:v>0.93879575778309965</c:v>
                </c:pt>
                <c:pt idx="3291">
                  <c:v>0.94849902667258623</c:v>
                </c:pt>
                <c:pt idx="3292">
                  <c:v>0.89569850297443943</c:v>
                </c:pt>
                <c:pt idx="3293">
                  <c:v>0.76053575431517584</c:v>
                </c:pt>
                <c:pt idx="3294">
                  <c:v>0.62728777375326827</c:v>
                </c:pt>
                <c:pt idx="3295">
                  <c:v>0.55513464171611149</c:v>
                </c:pt>
                <c:pt idx="3296">
                  <c:v>0.53069324793649364</c:v>
                </c:pt>
                <c:pt idx="3297">
                  <c:v>0.49543104216813766</c:v>
                </c:pt>
                <c:pt idx="3298">
                  <c:v>0.43607503607503612</c:v>
                </c:pt>
                <c:pt idx="3299">
                  <c:v>0.42565026460984123</c:v>
                </c:pt>
                <c:pt idx="3300">
                  <c:v>0.37426058793099565</c:v>
                </c:pt>
                <c:pt idx="3301">
                  <c:v>0.30303797468354432</c:v>
                </c:pt>
                <c:pt idx="3302">
                  <c:v>0.29738106679481019</c:v>
                </c:pt>
                <c:pt idx="3303">
                  <c:v>0.29052194486021926</c:v>
                </c:pt>
                <c:pt idx="3304">
                  <c:v>0.25773003269500239</c:v>
                </c:pt>
                <c:pt idx="3305">
                  <c:v>0.19837832635580574</c:v>
                </c:pt>
                <c:pt idx="3306">
                  <c:v>0.1309535847911821</c:v>
                </c:pt>
                <c:pt idx="3307">
                  <c:v>0.11355020016437339</c:v>
                </c:pt>
                <c:pt idx="3308">
                  <c:v>8.2360020788314781E-2</c:v>
                </c:pt>
                <c:pt idx="3309">
                  <c:v>0.10601997146932954</c:v>
                </c:pt>
                <c:pt idx="3310">
                  <c:v>9.6298392930150647E-2</c:v>
                </c:pt>
                <c:pt idx="3311">
                  <c:v>6.327312163215508E-2</c:v>
                </c:pt>
                <c:pt idx="3312">
                  <c:v>6.073576229218252E-2</c:v>
                </c:pt>
                <c:pt idx="3313">
                  <c:v>4.7973950795947899E-2</c:v>
                </c:pt>
                <c:pt idx="3314">
                  <c:v>4.397822717277676E-2</c:v>
                </c:pt>
                <c:pt idx="3315">
                  <c:v>3.3421563437444853E-2</c:v>
                </c:pt>
                <c:pt idx="3316">
                  <c:v>2.176756666107664E-2</c:v>
                </c:pt>
                <c:pt idx="3317">
                  <c:v>1.0808817271411957E-2</c:v>
                </c:pt>
                <c:pt idx="3318">
                  <c:v>1.303011078034259E-2</c:v>
                </c:pt>
                <c:pt idx="3319">
                  <c:v>1.0497962566475585E-2</c:v>
                </c:pt>
                <c:pt idx="3320">
                  <c:v>9.94731104651163E-3</c:v>
                </c:pt>
                <c:pt idx="3321">
                  <c:v>7.987113229075778E-3</c:v>
                </c:pt>
                <c:pt idx="3322">
                  <c:v>6.2846162540974347E-3</c:v>
                </c:pt>
                <c:pt idx="3323">
                  <c:v>1.080840288849292E-2</c:v>
                </c:pt>
                <c:pt idx="3324">
                  <c:v>1.1643688834916777E-2</c:v>
                </c:pt>
                <c:pt idx="3325">
                  <c:v>1.9581598255006941E-2</c:v>
                </c:pt>
                <c:pt idx="3326">
                  <c:v>1.9703291608715808E-2</c:v>
                </c:pt>
                <c:pt idx="3327">
                  <c:v>3.0813636009049065E-2</c:v>
                </c:pt>
                <c:pt idx="3328">
                  <c:v>4.6543686400320819E-2</c:v>
                </c:pt>
                <c:pt idx="3329">
                  <c:v>6.6744374619906746E-2</c:v>
                </c:pt>
                <c:pt idx="3330">
                  <c:v>9.2454663212435229E-2</c:v>
                </c:pt>
                <c:pt idx="3331">
                  <c:v>0.12486352927656152</c:v>
                </c:pt>
                <c:pt idx="3332">
                  <c:v>0.15623327982878546</c:v>
                </c:pt>
                <c:pt idx="3333">
                  <c:v>0.16500676257223656</c:v>
                </c:pt>
                <c:pt idx="3334">
                  <c:v>0.13230738483061857</c:v>
                </c:pt>
                <c:pt idx="3335">
                  <c:v>0.2318840579710145</c:v>
                </c:pt>
                <c:pt idx="3336">
                  <c:v>0.33310931899641577</c:v>
                </c:pt>
                <c:pt idx="3337">
                  <c:v>0.36406465451202696</c:v>
                </c:pt>
                <c:pt idx="3338">
                  <c:v>0.34522605244728038</c:v>
                </c:pt>
                <c:pt idx="3339">
                  <c:v>0.38980861805800165</c:v>
                </c:pt>
                <c:pt idx="3340">
                  <c:v>0.42605055168636047</c:v>
                </c:pt>
                <c:pt idx="3341">
                  <c:v>0.44241194910566106</c:v>
                </c:pt>
                <c:pt idx="3342">
                  <c:v>0.46636948984645865</c:v>
                </c:pt>
                <c:pt idx="3343">
                  <c:v>0.49971627393005402</c:v>
                </c:pt>
                <c:pt idx="3344">
                  <c:v>0.53538809557472078</c:v>
                </c:pt>
                <c:pt idx="3345">
                  <c:v>0.53679414607206954</c:v>
                </c:pt>
                <c:pt idx="3346">
                  <c:v>0.51329646816906105</c:v>
                </c:pt>
                <c:pt idx="3347">
                  <c:v>0.51700893111098467</c:v>
                </c:pt>
                <c:pt idx="3348">
                  <c:v>0.483642742289139</c:v>
                </c:pt>
                <c:pt idx="3349">
                  <c:v>0.53507850259673984</c:v>
                </c:pt>
                <c:pt idx="3350">
                  <c:v>0.52008976605490487</c:v>
                </c:pt>
                <c:pt idx="3351">
                  <c:v>0.4584616313469782</c:v>
                </c:pt>
                <c:pt idx="3352">
                  <c:v>0.36557438361287731</c:v>
                </c:pt>
                <c:pt idx="3353">
                  <c:v>0.31738849385908213</c:v>
                </c:pt>
                <c:pt idx="3354">
                  <c:v>0.32349489496537964</c:v>
                </c:pt>
                <c:pt idx="3355">
                  <c:v>0.26439087626161301</c:v>
                </c:pt>
                <c:pt idx="3356">
                  <c:v>0.22245533727509692</c:v>
                </c:pt>
                <c:pt idx="3357">
                  <c:v>0.22436204528759862</c:v>
                </c:pt>
                <c:pt idx="3358">
                  <c:v>0.21849659561364493</c:v>
                </c:pt>
                <c:pt idx="3359">
                  <c:v>0.22325136913294374</c:v>
                </c:pt>
                <c:pt idx="3360">
                  <c:v>0.24015473887814312</c:v>
                </c:pt>
                <c:pt idx="3361">
                  <c:v>0.25343921710183293</c:v>
                </c:pt>
                <c:pt idx="3362">
                  <c:v>0.25365873434142783</c:v>
                </c:pt>
                <c:pt idx="3363">
                  <c:v>0.25929123499424434</c:v>
                </c:pt>
                <c:pt idx="3364">
                  <c:v>0.27378400659521845</c:v>
                </c:pt>
                <c:pt idx="3365">
                  <c:v>0.25518104324704777</c:v>
                </c:pt>
                <c:pt idx="3366">
                  <c:v>0.20996517165399101</c:v>
                </c:pt>
                <c:pt idx="3367">
                  <c:v>0.22648782974385118</c:v>
                </c:pt>
                <c:pt idx="3368">
                  <c:v>0.3225391314757729</c:v>
                </c:pt>
                <c:pt idx="3369">
                  <c:v>0.37529232927970063</c:v>
                </c:pt>
                <c:pt idx="3370">
                  <c:v>0.37569836487553754</c:v>
                </c:pt>
                <c:pt idx="3371">
                  <c:v>0.36558915537017722</c:v>
                </c:pt>
                <c:pt idx="3372">
                  <c:v>0.36944103837066727</c:v>
                </c:pt>
                <c:pt idx="3373">
                  <c:v>0.3392117123929943</c:v>
                </c:pt>
                <c:pt idx="3374">
                  <c:v>0.2967916910654298</c:v>
                </c:pt>
                <c:pt idx="3375">
                  <c:v>0.24185046049442557</c:v>
                </c:pt>
                <c:pt idx="3376">
                  <c:v>0.17370679918680818</c:v>
                </c:pt>
                <c:pt idx="3377">
                  <c:v>0.13082547301445557</c:v>
                </c:pt>
                <c:pt idx="3378">
                  <c:v>9.5361781076066798E-2</c:v>
                </c:pt>
                <c:pt idx="3379">
                  <c:v>6.9691770691593213E-2</c:v>
                </c:pt>
                <c:pt idx="3380">
                  <c:v>6.313502264659078E-2</c:v>
                </c:pt>
                <c:pt idx="3381">
                  <c:v>5.8400325315149049E-2</c:v>
                </c:pt>
                <c:pt idx="3382">
                  <c:v>6.1990598261692995E-2</c:v>
                </c:pt>
                <c:pt idx="3383">
                  <c:v>7.3160342195875194E-2</c:v>
                </c:pt>
                <c:pt idx="3384">
                  <c:v>7.6438486613192677E-2</c:v>
                </c:pt>
                <c:pt idx="3385">
                  <c:v>7.4394592185410779E-2</c:v>
                </c:pt>
                <c:pt idx="3386">
                  <c:v>5.1809058252786727E-2</c:v>
                </c:pt>
                <c:pt idx="3387">
                  <c:v>4.1931710170358995E-2</c:v>
                </c:pt>
                <c:pt idx="3388">
                  <c:v>3.3774720550300945E-2</c:v>
                </c:pt>
                <c:pt idx="3389">
                  <c:v>2.2433182415656491E-2</c:v>
                </c:pt>
                <c:pt idx="3390">
                  <c:v>1.4454534146038065E-2</c:v>
                </c:pt>
                <c:pt idx="3391">
                  <c:v>1.4059179336275955E-2</c:v>
                </c:pt>
                <c:pt idx="3392">
                  <c:v>1.4118298422072529E-2</c:v>
                </c:pt>
                <c:pt idx="3393">
                  <c:v>1.3783893893440766E-2</c:v>
                </c:pt>
                <c:pt idx="3394">
                  <c:v>1.3424495729602037E-2</c:v>
                </c:pt>
                <c:pt idx="3395">
                  <c:v>2.0582836163377697E-2</c:v>
                </c:pt>
                <c:pt idx="3396">
                  <c:v>2.9577109290745966E-2</c:v>
                </c:pt>
                <c:pt idx="3397">
                  <c:v>3.2773010461972493E-2</c:v>
                </c:pt>
                <c:pt idx="3398">
                  <c:v>4.2612037105024841E-2</c:v>
                </c:pt>
                <c:pt idx="3399">
                  <c:v>4.3024154348530547E-2</c:v>
                </c:pt>
                <c:pt idx="3400">
                  <c:v>3.3356398081649204E-2</c:v>
                </c:pt>
                <c:pt idx="3401">
                  <c:v>2.429555110611906E-2</c:v>
                </c:pt>
                <c:pt idx="3402">
                  <c:v>1.8243399276422139E-2</c:v>
                </c:pt>
                <c:pt idx="3403">
                  <c:v>1.1378308586184634E-2</c:v>
                </c:pt>
                <c:pt idx="3404">
                  <c:v>1.1475547824135126E-2</c:v>
                </c:pt>
                <c:pt idx="3405">
                  <c:v>1.382381861299092E-2</c:v>
                </c:pt>
                <c:pt idx="3406">
                  <c:v>2.1210684368579105E-2</c:v>
                </c:pt>
                <c:pt idx="3407">
                  <c:v>2.8972633161365269E-2</c:v>
                </c:pt>
                <c:pt idx="3408">
                  <c:v>4.2782658381544179E-2</c:v>
                </c:pt>
                <c:pt idx="3409">
                  <c:v>5.4547434129346012E-2</c:v>
                </c:pt>
                <c:pt idx="3410">
                  <c:v>6.2915822967891222E-2</c:v>
                </c:pt>
                <c:pt idx="3411">
                  <c:v>6.6056034482758624E-2</c:v>
                </c:pt>
                <c:pt idx="3412">
                  <c:v>6.6784608580274213E-2</c:v>
                </c:pt>
                <c:pt idx="3413">
                  <c:v>6.1735435855028664E-2</c:v>
                </c:pt>
                <c:pt idx="3414">
                  <c:v>4.9593276154432181E-2</c:v>
                </c:pt>
                <c:pt idx="3415">
                  <c:v>4.9214102178291176E-2</c:v>
                </c:pt>
                <c:pt idx="3416">
                  <c:v>3.5379456648189977E-2</c:v>
                </c:pt>
                <c:pt idx="3417">
                  <c:v>3.4114271513453677E-2</c:v>
                </c:pt>
                <c:pt idx="3418">
                  <c:v>4.3397508493771234E-2</c:v>
                </c:pt>
                <c:pt idx="3419">
                  <c:v>5.5485814712528239E-2</c:v>
                </c:pt>
                <c:pt idx="3420">
                  <c:v>8.9560099841993188E-2</c:v>
                </c:pt>
                <c:pt idx="3421">
                  <c:v>0.13228339118887311</c:v>
                </c:pt>
                <c:pt idx="3422">
                  <c:v>0.20124708458279786</c:v>
                </c:pt>
                <c:pt idx="3423">
                  <c:v>0.23495043340836164</c:v>
                </c:pt>
                <c:pt idx="3424">
                  <c:v>0.2414801051391281</c:v>
                </c:pt>
                <c:pt idx="3425">
                  <c:v>0.29341704367094457</c:v>
                </c:pt>
                <c:pt idx="3426">
                  <c:v>0.37448808975694869</c:v>
                </c:pt>
                <c:pt idx="3427">
                  <c:v>0.40402923961918163</c:v>
                </c:pt>
                <c:pt idx="3428">
                  <c:v>0.49235601007085944</c:v>
                </c:pt>
                <c:pt idx="3429">
                  <c:v>0.56943580871022681</c:v>
                </c:pt>
                <c:pt idx="3430">
                  <c:v>0.74325960487848097</c:v>
                </c:pt>
                <c:pt idx="3431">
                  <c:v>0.90241804769938128</c:v>
                </c:pt>
                <c:pt idx="3432">
                  <c:v>0.95720399429386571</c:v>
                </c:pt>
                <c:pt idx="3433">
                  <c:v>0.99588418961112712</c:v>
                </c:pt>
                <c:pt idx="3434">
                  <c:v>0.99293298767711924</c:v>
                </c:pt>
                <c:pt idx="3435">
                  <c:v>0.97109260166585021</c:v>
                </c:pt>
                <c:pt idx="3436">
                  <c:v>0.86323315238977893</c:v>
                </c:pt>
                <c:pt idx="3437">
                  <c:v>0.72237091557934641</c:v>
                </c:pt>
                <c:pt idx="3438">
                  <c:v>0.66111919124484386</c:v>
                </c:pt>
                <c:pt idx="3439">
                  <c:v>0.6363246222302531</c:v>
                </c:pt>
                <c:pt idx="3440">
                  <c:v>0.57065083454688037</c:v>
                </c:pt>
                <c:pt idx="3441">
                  <c:v>0.53375060821869336</c:v>
                </c:pt>
                <c:pt idx="3442">
                  <c:v>0.50561598224195348</c:v>
                </c:pt>
                <c:pt idx="3443">
                  <c:v>0.45153814695324218</c:v>
                </c:pt>
                <c:pt idx="3444">
                  <c:v>0.43593283244319719</c:v>
                </c:pt>
                <c:pt idx="3445">
                  <c:v>0.43506658946149396</c:v>
                </c:pt>
                <c:pt idx="3446">
                  <c:v>0.47130189046969395</c:v>
                </c:pt>
                <c:pt idx="3447">
                  <c:v>0.48039655258307179</c:v>
                </c:pt>
                <c:pt idx="3448">
                  <c:v>0.50471834376504576</c:v>
                </c:pt>
                <c:pt idx="3449">
                  <c:v>0.53704468690010443</c:v>
                </c:pt>
                <c:pt idx="3450">
                  <c:v>0.55258653723336315</c:v>
                </c:pt>
                <c:pt idx="3451">
                  <c:v>0.53624598092458997</c:v>
                </c:pt>
                <c:pt idx="3452">
                  <c:v>0.54550834084761046</c:v>
                </c:pt>
                <c:pt idx="3453">
                  <c:v>0.58425151427747324</c:v>
                </c:pt>
                <c:pt idx="3454">
                  <c:v>0.6645884501542918</c:v>
                </c:pt>
                <c:pt idx="3455">
                  <c:v>0.77455143131077941</c:v>
                </c:pt>
                <c:pt idx="3456">
                  <c:v>0.78131565601680797</c:v>
                </c:pt>
                <c:pt idx="3457">
                  <c:v>0.78737281502739365</c:v>
                </c:pt>
                <c:pt idx="3458">
                  <c:v>0.81748236000600505</c:v>
                </c:pt>
                <c:pt idx="3459">
                  <c:v>0.84543690797732729</c:v>
                </c:pt>
                <c:pt idx="3460">
                  <c:v>0.83893764960674799</c:v>
                </c:pt>
                <c:pt idx="3461">
                  <c:v>0.77738819320214658</c:v>
                </c:pt>
                <c:pt idx="3462">
                  <c:v>0.72546096762694834</c:v>
                </c:pt>
                <c:pt idx="3463">
                  <c:v>0.68015712415188667</c:v>
                </c:pt>
                <c:pt idx="3464">
                  <c:v>0.5961516501084847</c:v>
                </c:pt>
                <c:pt idx="3465">
                  <c:v>0.52331476323119774</c:v>
                </c:pt>
                <c:pt idx="3466">
                  <c:v>0.50391608391608389</c:v>
                </c:pt>
                <c:pt idx="3467">
                  <c:v>0.48995573714674834</c:v>
                </c:pt>
                <c:pt idx="3468">
                  <c:v>0.47077809798270892</c:v>
                </c:pt>
                <c:pt idx="3469">
                  <c:v>0.47911388676132688</c:v>
                </c:pt>
                <c:pt idx="3470">
                  <c:v>0.51781958050363597</c:v>
                </c:pt>
                <c:pt idx="3471">
                  <c:v>0.46731177015201741</c:v>
                </c:pt>
                <c:pt idx="3472">
                  <c:v>0.45943875379507992</c:v>
                </c:pt>
                <c:pt idx="3473">
                  <c:v>0.41683165555896373</c:v>
                </c:pt>
                <c:pt idx="3474">
                  <c:v>0.40279454890460586</c:v>
                </c:pt>
                <c:pt idx="3475">
                  <c:v>0.43040589080459768</c:v>
                </c:pt>
                <c:pt idx="3476">
                  <c:v>0.49285824463982719</c:v>
                </c:pt>
                <c:pt idx="3477">
                  <c:v>0.5753130923894465</c:v>
                </c:pt>
                <c:pt idx="3478">
                  <c:v>0.64736525746343421</c:v>
                </c:pt>
                <c:pt idx="3479">
                  <c:v>0.68415962172230971</c:v>
                </c:pt>
                <c:pt idx="3480">
                  <c:v>0.7084494314330898</c:v>
                </c:pt>
                <c:pt idx="3481">
                  <c:v>0.68302382147407437</c:v>
                </c:pt>
                <c:pt idx="3482">
                  <c:v>0.56538671236077576</c:v>
                </c:pt>
                <c:pt idx="3483">
                  <c:v>0.47977811000078679</c:v>
                </c:pt>
                <c:pt idx="3484">
                  <c:v>0.4234313463082629</c:v>
                </c:pt>
                <c:pt idx="3485">
                  <c:v>0.32388054595833471</c:v>
                </c:pt>
                <c:pt idx="3486">
                  <c:v>0.24743975903614457</c:v>
                </c:pt>
                <c:pt idx="3487">
                  <c:v>0.18372169707628053</c:v>
                </c:pt>
                <c:pt idx="3488">
                  <c:v>0.12725543550048873</c:v>
                </c:pt>
                <c:pt idx="3489">
                  <c:v>9.7689923691955116E-2</c:v>
                </c:pt>
                <c:pt idx="3490">
                  <c:v>8.253719655442443E-2</c:v>
                </c:pt>
                <c:pt idx="3491">
                  <c:v>7.8494224859595216E-2</c:v>
                </c:pt>
                <c:pt idx="3492">
                  <c:v>7.5836791893494307E-2</c:v>
                </c:pt>
                <c:pt idx="3493">
                  <c:v>6.6090534979423868E-2</c:v>
                </c:pt>
                <c:pt idx="3494">
                  <c:v>6.0940741156023985E-2</c:v>
                </c:pt>
                <c:pt idx="3495">
                  <c:v>5.8169806567197599E-2</c:v>
                </c:pt>
                <c:pt idx="3496">
                  <c:v>5.2878395860284602E-2</c:v>
                </c:pt>
                <c:pt idx="3497">
                  <c:v>4.3706814794743261E-2</c:v>
                </c:pt>
                <c:pt idx="3498">
                  <c:v>3.0904137578750216E-2</c:v>
                </c:pt>
                <c:pt idx="3499">
                  <c:v>2.3599346113835639E-2</c:v>
                </c:pt>
                <c:pt idx="3500">
                  <c:v>2.0379848307331812E-2</c:v>
                </c:pt>
                <c:pt idx="3501">
                  <c:v>2.3979018358935927E-2</c:v>
                </c:pt>
                <c:pt idx="3502">
                  <c:v>2.8756554557296019E-2</c:v>
                </c:pt>
                <c:pt idx="3503">
                  <c:v>2.3036308404455377E-2</c:v>
                </c:pt>
                <c:pt idx="3504">
                  <c:v>2.4136353237245483E-2</c:v>
                </c:pt>
                <c:pt idx="3505">
                  <c:v>2.4272416637209849E-2</c:v>
                </c:pt>
                <c:pt idx="3506">
                  <c:v>2.6788202045934007E-2</c:v>
                </c:pt>
                <c:pt idx="3507">
                  <c:v>3.8394415357766137E-2</c:v>
                </c:pt>
                <c:pt idx="3508">
                  <c:v>6.5390879478827366E-2</c:v>
                </c:pt>
                <c:pt idx="3509">
                  <c:v>9.0822179732313574E-2</c:v>
                </c:pt>
                <c:pt idx="3510">
                  <c:v>8.5682811800750464E-2</c:v>
                </c:pt>
                <c:pt idx="3511">
                  <c:v>6.2570006222775351E-2</c:v>
                </c:pt>
                <c:pt idx="3512">
                  <c:v>9.1188464038768402E-2</c:v>
                </c:pt>
                <c:pt idx="3513">
                  <c:v>0.10045899367801159</c:v>
                </c:pt>
                <c:pt idx="3514">
                  <c:v>9.845192444255077E-2</c:v>
                </c:pt>
                <c:pt idx="3515">
                  <c:v>0.10032306449751932</c:v>
                </c:pt>
                <c:pt idx="3516">
                  <c:v>0.10491104034590554</c:v>
                </c:pt>
                <c:pt idx="3517">
                  <c:v>0.10733517904408409</c:v>
                </c:pt>
                <c:pt idx="3518">
                  <c:v>0.13379868425116595</c:v>
                </c:pt>
                <c:pt idx="3519">
                  <c:v>0.15440500275887439</c:v>
                </c:pt>
                <c:pt idx="3520">
                  <c:v>0.16919917864476386</c:v>
                </c:pt>
                <c:pt idx="3521">
                  <c:v>0.18894799569779949</c:v>
                </c:pt>
                <c:pt idx="3522">
                  <c:v>0.26503027033507159</c:v>
                </c:pt>
                <c:pt idx="3523">
                  <c:v>0.33495250765756002</c:v>
                </c:pt>
                <c:pt idx="3524">
                  <c:v>0.40412404092071613</c:v>
                </c:pt>
                <c:pt idx="3525">
                  <c:v>0.52037789385438826</c:v>
                </c:pt>
                <c:pt idx="3526">
                  <c:v>0.64399727148703956</c:v>
                </c:pt>
                <c:pt idx="3527">
                  <c:v>0.75841280280609469</c:v>
                </c:pt>
                <c:pt idx="3528">
                  <c:v>0.85589001225490202</c:v>
                </c:pt>
                <c:pt idx="3529">
                  <c:v>0.91095403569736222</c:v>
                </c:pt>
                <c:pt idx="3530">
                  <c:v>0.87025366943203586</c:v>
                </c:pt>
                <c:pt idx="3531">
                  <c:v>0.79849955149637131</c:v>
                </c:pt>
                <c:pt idx="3532">
                  <c:v>0.72179890674175906</c:v>
                </c:pt>
                <c:pt idx="3533">
                  <c:v>0.6009469323337937</c:v>
                </c:pt>
                <c:pt idx="3534">
                  <c:v>0.51072992176846332</c:v>
                </c:pt>
                <c:pt idx="3535">
                  <c:v>0.43339611612651818</c:v>
                </c:pt>
                <c:pt idx="3536">
                  <c:v>0.42768419777023753</c:v>
                </c:pt>
                <c:pt idx="3537">
                  <c:v>0.4460546081116904</c:v>
                </c:pt>
                <c:pt idx="3538">
                  <c:v>0.39838601991349537</c:v>
                </c:pt>
                <c:pt idx="3539">
                  <c:v>0.49976650516607329</c:v>
                </c:pt>
                <c:pt idx="3540">
                  <c:v>0.62057877813504825</c:v>
                </c:pt>
                <c:pt idx="3541">
                  <c:v>0.66647179187372119</c:v>
                </c:pt>
                <c:pt idx="3542">
                  <c:v>0.68726503759398505</c:v>
                </c:pt>
                <c:pt idx="3543">
                  <c:v>0.70936060491931519</c:v>
                </c:pt>
                <c:pt idx="3544">
                  <c:v>0.72975686529903405</c:v>
                </c:pt>
                <c:pt idx="3545">
                  <c:v>0.71073510362694292</c:v>
                </c:pt>
                <c:pt idx="3546">
                  <c:v>0.71459798783734552</c:v>
                </c:pt>
                <c:pt idx="3547">
                  <c:v>0.70624565066109968</c:v>
                </c:pt>
                <c:pt idx="3548">
                  <c:v>0.681276328762212</c:v>
                </c:pt>
                <c:pt idx="3549">
                  <c:v>0.66172448091508151</c:v>
                </c:pt>
                <c:pt idx="3550">
                  <c:v>0.69520903879035778</c:v>
                </c:pt>
                <c:pt idx="3551">
                  <c:v>0.71001105602910231</c:v>
                </c:pt>
                <c:pt idx="3552">
                  <c:v>0.71330829583906596</c:v>
                </c:pt>
                <c:pt idx="3553">
                  <c:v>0.64248235249707442</c:v>
                </c:pt>
                <c:pt idx="3554">
                  <c:v>0.5378398791540786</c:v>
                </c:pt>
                <c:pt idx="3555">
                  <c:v>0.46131452244989357</c:v>
                </c:pt>
                <c:pt idx="3556">
                  <c:v>0.4290905279340344</c:v>
                </c:pt>
                <c:pt idx="3557">
                  <c:v>0.37845247469886545</c:v>
                </c:pt>
                <c:pt idx="3558">
                  <c:v>0.26285545169802943</c:v>
                </c:pt>
                <c:pt idx="3559">
                  <c:v>0.14922232387923146</c:v>
                </c:pt>
                <c:pt idx="3560">
                  <c:v>9.0185318459877664E-2</c:v>
                </c:pt>
                <c:pt idx="3561">
                  <c:v>9.3750690317877583E-2</c:v>
                </c:pt>
                <c:pt idx="3562">
                  <c:v>9.2605253291577524E-2</c:v>
                </c:pt>
                <c:pt idx="3563">
                  <c:v>5.867987094461373E-2</c:v>
                </c:pt>
                <c:pt idx="3564">
                  <c:v>2.8768931343817809E-2</c:v>
                </c:pt>
                <c:pt idx="3565">
                  <c:v>3.2713686896300345E-2</c:v>
                </c:pt>
                <c:pt idx="3566">
                  <c:v>4.6297174284088756E-2</c:v>
                </c:pt>
                <c:pt idx="3567">
                  <c:v>5.1334653276400841E-2</c:v>
                </c:pt>
                <c:pt idx="3568">
                  <c:v>3.2314804374788592E-2</c:v>
                </c:pt>
                <c:pt idx="3569">
                  <c:v>2.3828672533835797E-2</c:v>
                </c:pt>
                <c:pt idx="3570">
                  <c:v>2.3962751694212862E-2</c:v>
                </c:pt>
                <c:pt idx="3571">
                  <c:v>2.2163941170420649E-2</c:v>
                </c:pt>
                <c:pt idx="3572">
                  <c:v>1.3014138817480722E-2</c:v>
                </c:pt>
                <c:pt idx="3573">
                  <c:v>8.7371821885096207E-3</c:v>
                </c:pt>
                <c:pt idx="3574">
                  <c:v>8.6814641504787109E-3</c:v>
                </c:pt>
                <c:pt idx="3575">
                  <c:v>8.6759341417726506E-3</c:v>
                </c:pt>
                <c:pt idx="3576">
                  <c:v>1.905284079226921E-2</c:v>
                </c:pt>
                <c:pt idx="3577">
                  <c:v>2.7735084532625402E-2</c:v>
                </c:pt>
                <c:pt idx="3578">
                  <c:v>2.3345888707270276E-2</c:v>
                </c:pt>
                <c:pt idx="3579">
                  <c:v>2.3428430717275829E-2</c:v>
                </c:pt>
                <c:pt idx="3580">
                  <c:v>3.0227120908483635E-2</c:v>
                </c:pt>
                <c:pt idx="3581">
                  <c:v>4.085755977101807E-2</c:v>
                </c:pt>
                <c:pt idx="3582">
                  <c:v>4.2003621001810501E-2</c:v>
                </c:pt>
                <c:pt idx="3583">
                  <c:v>3.89082989246336E-2</c:v>
                </c:pt>
                <c:pt idx="3584">
                  <c:v>8.4295868502887603E-2</c:v>
                </c:pt>
                <c:pt idx="3585">
                  <c:v>6.6008956967612123E-2</c:v>
                </c:pt>
                <c:pt idx="3586">
                  <c:v>5.5617183251767267E-2</c:v>
                </c:pt>
                <c:pt idx="3587">
                  <c:v>7.2523820075337919E-2</c:v>
                </c:pt>
                <c:pt idx="3588">
                  <c:v>9.7479959254174242E-2</c:v>
                </c:pt>
                <c:pt idx="3589">
                  <c:v>0.13545933294324167</c:v>
                </c:pt>
                <c:pt idx="3590">
                  <c:v>0.22557809188924854</c:v>
                </c:pt>
                <c:pt idx="3591">
                  <c:v>0.29547696209666052</c:v>
                </c:pt>
                <c:pt idx="3592">
                  <c:v>0.32873434704830051</c:v>
                </c:pt>
                <c:pt idx="3593">
                  <c:v>0.39201041523913938</c:v>
                </c:pt>
                <c:pt idx="3594">
                  <c:v>0.4291868216494597</c:v>
                </c:pt>
                <c:pt idx="3595">
                  <c:v>0.45542296876187577</c:v>
                </c:pt>
                <c:pt idx="3596">
                  <c:v>0.47381446591090531</c:v>
                </c:pt>
                <c:pt idx="3597">
                  <c:v>0.54116886402608722</c:v>
                </c:pt>
                <c:pt idx="3598">
                  <c:v>0.64396551724137929</c:v>
                </c:pt>
                <c:pt idx="3599">
                  <c:v>0.7720527753101043</c:v>
                </c:pt>
                <c:pt idx="3600">
                  <c:v>0.93788565779156574</c:v>
                </c:pt>
                <c:pt idx="3601">
                  <c:v>1.082260174919083</c:v>
                </c:pt>
                <c:pt idx="3602">
                  <c:v>1.2206320402643203</c:v>
                </c:pt>
                <c:pt idx="3603">
                  <c:v>1.2812105496605142</c:v>
                </c:pt>
                <c:pt idx="3604">
                  <c:v>1.2439542063287881</c:v>
                </c:pt>
                <c:pt idx="3605">
                  <c:v>1.1160503324358479</c:v>
                </c:pt>
                <c:pt idx="3606">
                  <c:v>0.9934615658955277</c:v>
                </c:pt>
                <c:pt idx="3607">
                  <c:v>0.97557364914877853</c:v>
                </c:pt>
                <c:pt idx="3608">
                  <c:v>0.97617322177569887</c:v>
                </c:pt>
                <c:pt idx="3609">
                  <c:v>0.9668609277219844</c:v>
                </c:pt>
                <c:pt idx="3610">
                  <c:v>0.97970145390223906</c:v>
                </c:pt>
                <c:pt idx="3611">
                  <c:v>0.99991199700789812</c:v>
                </c:pt>
                <c:pt idx="3612">
                  <c:v>0.99583544499041476</c:v>
                </c:pt>
                <c:pt idx="3613">
                  <c:v>1.0086484538636515</c:v>
                </c:pt>
                <c:pt idx="3614">
                  <c:v>1.0489520260829064</c:v>
                </c:pt>
                <c:pt idx="3615">
                  <c:v>1.0568409632302649</c:v>
                </c:pt>
                <c:pt idx="3616">
                  <c:v>1.0033388228393529</c:v>
                </c:pt>
                <c:pt idx="3617">
                  <c:v>1.0186427348845817</c:v>
                </c:pt>
                <c:pt idx="3618">
                  <c:v>1.048268982799309</c:v>
                </c:pt>
                <c:pt idx="3619">
                  <c:v>1.0487723870110626</c:v>
                </c:pt>
                <c:pt idx="3620">
                  <c:v>1.038262585324232</c:v>
                </c:pt>
                <c:pt idx="3621">
                  <c:v>1.0431307243963364</c:v>
                </c:pt>
                <c:pt idx="3622">
                  <c:v>1.0904546823246011</c:v>
                </c:pt>
                <c:pt idx="3623">
                  <c:v>1.1282125510630772</c:v>
                </c:pt>
                <c:pt idx="3624">
                  <c:v>1.1226345208431543</c:v>
                </c:pt>
                <c:pt idx="3625">
                  <c:v>1.0685669204911845</c:v>
                </c:pt>
                <c:pt idx="3626">
                  <c:v>1.0110535405872194</c:v>
                </c:pt>
                <c:pt idx="3627">
                  <c:v>0.96006384233718456</c:v>
                </c:pt>
                <c:pt idx="3628">
                  <c:v>0.86464567186631347</c:v>
                </c:pt>
                <c:pt idx="3629">
                  <c:v>0.70265418289281079</c:v>
                </c:pt>
                <c:pt idx="3630">
                  <c:v>0.63711119056131571</c:v>
                </c:pt>
                <c:pt idx="3631">
                  <c:v>0.61064895618469073</c:v>
                </c:pt>
                <c:pt idx="3632">
                  <c:v>0.59257086116627555</c:v>
                </c:pt>
                <c:pt idx="3633">
                  <c:v>0.58075578565423247</c:v>
                </c:pt>
                <c:pt idx="3634">
                  <c:v>0.54493290960451979</c:v>
                </c:pt>
                <c:pt idx="3635">
                  <c:v>0.50722842731039453</c:v>
                </c:pt>
                <c:pt idx="3636">
                  <c:v>0.4963653140683727</c:v>
                </c:pt>
                <c:pt idx="3637">
                  <c:v>0.48355391874784215</c:v>
                </c:pt>
                <c:pt idx="3638">
                  <c:v>0.47738043946574754</c:v>
                </c:pt>
                <c:pt idx="3639">
                  <c:v>0.51770158452840254</c:v>
                </c:pt>
                <c:pt idx="3640">
                  <c:v>0.49037406949338436</c:v>
                </c:pt>
                <c:pt idx="3641">
                  <c:v>0.45035875187719004</c:v>
                </c:pt>
                <c:pt idx="3642">
                  <c:v>0.41584748287161155</c:v>
                </c:pt>
                <c:pt idx="3643">
                  <c:v>0.35731694669155778</c:v>
                </c:pt>
                <c:pt idx="3644">
                  <c:v>0.37878665263952954</c:v>
                </c:pt>
                <c:pt idx="3645">
                  <c:v>0.38993955936829788</c:v>
                </c:pt>
                <c:pt idx="3646">
                  <c:v>0.39877541171502678</c:v>
                </c:pt>
                <c:pt idx="3647">
                  <c:v>0.39518330733229329</c:v>
                </c:pt>
                <c:pt idx="3648">
                  <c:v>0.38078206962327132</c:v>
                </c:pt>
                <c:pt idx="3649">
                  <c:v>0.34660217822471201</c:v>
                </c:pt>
                <c:pt idx="3650">
                  <c:v>0.29811005534092094</c:v>
                </c:pt>
                <c:pt idx="3651">
                  <c:v>0.2695987383914491</c:v>
                </c:pt>
                <c:pt idx="3652">
                  <c:v>0.21992899094136778</c:v>
                </c:pt>
                <c:pt idx="3653">
                  <c:v>0.14943693693693694</c:v>
                </c:pt>
                <c:pt idx="3654">
                  <c:v>9.2483312373028911E-2</c:v>
                </c:pt>
                <c:pt idx="3655">
                  <c:v>5.2684602175157413E-2</c:v>
                </c:pt>
                <c:pt idx="3656">
                  <c:v>4.2003231017770599E-2</c:v>
                </c:pt>
                <c:pt idx="3657">
                  <c:v>2.5847060399089326E-2</c:v>
                </c:pt>
                <c:pt idx="3658">
                  <c:v>2.1643359013171271E-2</c:v>
                </c:pt>
                <c:pt idx="3659">
                  <c:v>1.8065173587789796E-2</c:v>
                </c:pt>
                <c:pt idx="3660">
                  <c:v>1.7245055075210233E-2</c:v>
                </c:pt>
                <c:pt idx="3661">
                  <c:v>1.8913059729386263E-2</c:v>
                </c:pt>
                <c:pt idx="3662">
                  <c:v>2.4990288747895894E-2</c:v>
                </c:pt>
                <c:pt idx="3663">
                  <c:v>3.3507170795306386E-2</c:v>
                </c:pt>
                <c:pt idx="3664">
                  <c:v>3.2150134587809111E-2</c:v>
                </c:pt>
                <c:pt idx="3665">
                  <c:v>2.9017969497156088E-2</c:v>
                </c:pt>
                <c:pt idx="3666">
                  <c:v>2.6337383202308162E-2</c:v>
                </c:pt>
                <c:pt idx="3667">
                  <c:v>2.8245125348189418E-2</c:v>
                </c:pt>
                <c:pt idx="3668">
                  <c:v>3.9779646274282397E-2</c:v>
                </c:pt>
                <c:pt idx="3669">
                  <c:v>6.7511678419470977E-2</c:v>
                </c:pt>
                <c:pt idx="3670">
                  <c:v>0.11020679608575863</c:v>
                </c:pt>
                <c:pt idx="3671">
                  <c:v>0.15993735956968749</c:v>
                </c:pt>
                <c:pt idx="3672">
                  <c:v>0.19732393352996189</c:v>
                </c:pt>
                <c:pt idx="3673">
                  <c:v>0.2128101472388087</c:v>
                </c:pt>
                <c:pt idx="3674">
                  <c:v>0.21345139412207989</c:v>
                </c:pt>
                <c:pt idx="3675">
                  <c:v>0.22999884885461033</c:v>
                </c:pt>
                <c:pt idx="3676">
                  <c:v>0.26490117356392834</c:v>
                </c:pt>
                <c:pt idx="3677">
                  <c:v>0.24749444221728198</c:v>
                </c:pt>
                <c:pt idx="3678">
                  <c:v>0.18938416228200802</c:v>
                </c:pt>
                <c:pt idx="3679">
                  <c:v>0.1454753034491047</c:v>
                </c:pt>
                <c:pt idx="3680">
                  <c:v>0.1432648401826484</c:v>
                </c:pt>
                <c:pt idx="3681">
                  <c:v>0.14656787130894666</c:v>
                </c:pt>
                <c:pt idx="3682">
                  <c:v>0.1605350240538361</c:v>
                </c:pt>
                <c:pt idx="3683">
                  <c:v>0.1816375087473758</c:v>
                </c:pt>
                <c:pt idx="3684">
                  <c:v>0.21251173508577278</c:v>
                </c:pt>
                <c:pt idx="3685">
                  <c:v>0.21294797687861269</c:v>
                </c:pt>
                <c:pt idx="3686">
                  <c:v>0.16348559790514985</c:v>
                </c:pt>
                <c:pt idx="3687">
                  <c:v>0.1570173918067834</c:v>
                </c:pt>
                <c:pt idx="3688">
                  <c:v>0.1222883995410087</c:v>
                </c:pt>
                <c:pt idx="3689">
                  <c:v>0.10290366350067844</c:v>
                </c:pt>
                <c:pt idx="3690">
                  <c:v>0.10539160045402952</c:v>
                </c:pt>
                <c:pt idx="3691">
                  <c:v>0.10335586457433822</c:v>
                </c:pt>
                <c:pt idx="3692">
                  <c:v>0.12067538994269604</c:v>
                </c:pt>
                <c:pt idx="3693">
                  <c:v>0.13791268971991863</c:v>
                </c:pt>
                <c:pt idx="3694">
                  <c:v>0.15154625521488646</c:v>
                </c:pt>
                <c:pt idx="3695">
                  <c:v>0.1453335231722076</c:v>
                </c:pt>
                <c:pt idx="3696">
                  <c:v>0.14780705065297803</c:v>
                </c:pt>
                <c:pt idx="3697">
                  <c:v>0.1290310001949698</c:v>
                </c:pt>
                <c:pt idx="3698">
                  <c:v>0.10632597568777989</c:v>
                </c:pt>
                <c:pt idx="3699">
                  <c:v>8.9237336836056155E-2</c:v>
                </c:pt>
                <c:pt idx="3700">
                  <c:v>8.539399934058689E-2</c:v>
                </c:pt>
                <c:pt idx="3701">
                  <c:v>7.8803169472148868E-2</c:v>
                </c:pt>
                <c:pt idx="3702">
                  <c:v>7.5385060380360108E-2</c:v>
                </c:pt>
                <c:pt idx="3703">
                  <c:v>8.1141778414268964E-2</c:v>
                </c:pt>
                <c:pt idx="3704">
                  <c:v>9.0969676774408537E-2</c:v>
                </c:pt>
                <c:pt idx="3705">
                  <c:v>0.13893291072371897</c:v>
                </c:pt>
                <c:pt idx="3706">
                  <c:v>0.20402928291445699</c:v>
                </c:pt>
                <c:pt idx="3707">
                  <c:v>0.29028222286878091</c:v>
                </c:pt>
                <c:pt idx="3708">
                  <c:v>0.35319486005984868</c:v>
                </c:pt>
                <c:pt idx="3709">
                  <c:v>0.46074630840706654</c:v>
                </c:pt>
                <c:pt idx="3710">
                  <c:v>0.55877229863655464</c:v>
                </c:pt>
                <c:pt idx="3711">
                  <c:v>0.60173198557663887</c:v>
                </c:pt>
                <c:pt idx="3712">
                  <c:v>0.6341186252771619</c:v>
                </c:pt>
                <c:pt idx="3713">
                  <c:v>0.61866295264623961</c:v>
                </c:pt>
                <c:pt idx="3714">
                  <c:v>0.59103763958132882</c:v>
                </c:pt>
                <c:pt idx="3715">
                  <c:v>0.58807057689991571</c:v>
                </c:pt>
                <c:pt idx="3716">
                  <c:v>0.54411991964147732</c:v>
                </c:pt>
                <c:pt idx="3717">
                  <c:v>0.50420907149139338</c:v>
                </c:pt>
                <c:pt idx="3718">
                  <c:v>0.540553133424302</c:v>
                </c:pt>
                <c:pt idx="3719">
                  <c:v>0.57258613889785237</c:v>
                </c:pt>
                <c:pt idx="3720">
                  <c:v>0.56001660314705093</c:v>
                </c:pt>
                <c:pt idx="3721">
                  <c:v>0.55960975609756103</c:v>
                </c:pt>
                <c:pt idx="3722">
                  <c:v>0.5407123677144211</c:v>
                </c:pt>
                <c:pt idx="3723">
                  <c:v>0.51603145795523286</c:v>
                </c:pt>
                <c:pt idx="3724">
                  <c:v>0.46292512919120293</c:v>
                </c:pt>
                <c:pt idx="3725">
                  <c:v>0.36577105441408897</c:v>
                </c:pt>
                <c:pt idx="3726">
                  <c:v>0.33997547516860821</c:v>
                </c:pt>
                <c:pt idx="3727">
                  <c:v>0.3341448382126348</c:v>
                </c:pt>
                <c:pt idx="3728">
                  <c:v>0.34578754578754578</c:v>
                </c:pt>
                <c:pt idx="3729">
                  <c:v>0.38548868971404182</c:v>
                </c:pt>
                <c:pt idx="3730">
                  <c:v>0.42537081508687663</c:v>
                </c:pt>
                <c:pt idx="3731">
                  <c:v>0.48758368140985298</c:v>
                </c:pt>
                <c:pt idx="3732">
                  <c:v>0.61194243369288426</c:v>
                </c:pt>
                <c:pt idx="3733">
                  <c:v>0.66294933812241119</c:v>
                </c:pt>
                <c:pt idx="3734">
                  <c:v>0.6527389808580083</c:v>
                </c:pt>
                <c:pt idx="3735">
                  <c:v>0.5442788948358166</c:v>
                </c:pt>
                <c:pt idx="3736">
                  <c:v>0.45823746588902564</c:v>
                </c:pt>
                <c:pt idx="3737">
                  <c:v>0.39597136851068354</c:v>
                </c:pt>
                <c:pt idx="3738">
                  <c:v>0.33661461238148355</c:v>
                </c:pt>
                <c:pt idx="3739">
                  <c:v>0.35005687950296061</c:v>
                </c:pt>
                <c:pt idx="3740">
                  <c:v>0.37306295399515743</c:v>
                </c:pt>
                <c:pt idx="3741">
                  <c:v>0.36485210345142721</c:v>
                </c:pt>
                <c:pt idx="3742">
                  <c:v>0.41251880436915428</c:v>
                </c:pt>
                <c:pt idx="3743">
                  <c:v>0.49924906569801958</c:v>
                </c:pt>
                <c:pt idx="3744">
                  <c:v>0.59241689128481589</c:v>
                </c:pt>
                <c:pt idx="3745">
                  <c:v>0.68542350381651251</c:v>
                </c:pt>
                <c:pt idx="3746">
                  <c:v>0.74565385893035085</c:v>
                </c:pt>
                <c:pt idx="3747">
                  <c:v>0.76803154829911913</c:v>
                </c:pt>
                <c:pt idx="3748">
                  <c:v>0.72356670052183658</c:v>
                </c:pt>
                <c:pt idx="3749">
                  <c:v>0.56435439762401862</c:v>
                </c:pt>
                <c:pt idx="3750">
                  <c:v>0.42414630519898899</c:v>
                </c:pt>
                <c:pt idx="3751">
                  <c:v>0.44056317120126182</c:v>
                </c:pt>
                <c:pt idx="3752">
                  <c:v>0.54970106339281644</c:v>
                </c:pt>
                <c:pt idx="3753">
                  <c:v>0.64445187165775408</c:v>
                </c:pt>
                <c:pt idx="3754">
                  <c:v>0.69995515695067267</c:v>
                </c:pt>
                <c:pt idx="3755">
                  <c:v>0.73895436961292205</c:v>
                </c:pt>
                <c:pt idx="3756">
                  <c:v>0.75600287240249531</c:v>
                </c:pt>
                <c:pt idx="3757">
                  <c:v>0.79628271531374628</c:v>
                </c:pt>
                <c:pt idx="3758">
                  <c:v>0.8524156812764051</c:v>
                </c:pt>
                <c:pt idx="3759">
                  <c:v>0.87738880030462429</c:v>
                </c:pt>
                <c:pt idx="3760">
                  <c:v>0.75864488096315763</c:v>
                </c:pt>
                <c:pt idx="3761">
                  <c:v>0.70267828182197312</c:v>
                </c:pt>
                <c:pt idx="3762">
                  <c:v>0.57438535180764405</c:v>
                </c:pt>
                <c:pt idx="3763">
                  <c:v>0.48137793053916794</c:v>
                </c:pt>
                <c:pt idx="3764">
                  <c:v>0.41384226382612438</c:v>
                </c:pt>
                <c:pt idx="3765">
                  <c:v>0.42828485456369109</c:v>
                </c:pt>
                <c:pt idx="3766">
                  <c:v>0.42171756558629947</c:v>
                </c:pt>
                <c:pt idx="3767">
                  <c:v>0.45189049106252899</c:v>
                </c:pt>
                <c:pt idx="3768">
                  <c:v>0.4719339786893238</c:v>
                </c:pt>
                <c:pt idx="3769">
                  <c:v>0.51525981989558145</c:v>
                </c:pt>
                <c:pt idx="3770">
                  <c:v>0.54707237071672832</c:v>
                </c:pt>
                <c:pt idx="3771">
                  <c:v>0.56235449459675446</c:v>
                </c:pt>
                <c:pt idx="3772">
                  <c:v>0.54783524147914198</c:v>
                </c:pt>
                <c:pt idx="3773">
                  <c:v>0.46887394863427945</c:v>
                </c:pt>
                <c:pt idx="3774">
                  <c:v>0.43513428426125489</c:v>
                </c:pt>
                <c:pt idx="3775">
                  <c:v>0.45392514833409398</c:v>
                </c:pt>
                <c:pt idx="3776">
                  <c:v>0.51708193041526385</c:v>
                </c:pt>
                <c:pt idx="3777">
                  <c:v>0.56224102586470104</c:v>
                </c:pt>
                <c:pt idx="3778">
                  <c:v>0.6249917703601291</c:v>
                </c:pt>
                <c:pt idx="3779">
                  <c:v>0.66278247026046955</c:v>
                </c:pt>
                <c:pt idx="3780">
                  <c:v>0.69425262237762231</c:v>
                </c:pt>
                <c:pt idx="3781">
                  <c:v>0.72673311184939093</c:v>
                </c:pt>
                <c:pt idx="3782">
                  <c:v>0.77928020683185761</c:v>
                </c:pt>
                <c:pt idx="3783">
                  <c:v>0.81289596914883855</c:v>
                </c:pt>
                <c:pt idx="3784">
                  <c:v>0.78628263299796142</c:v>
                </c:pt>
                <c:pt idx="3785">
                  <c:v>0.81370084395762254</c:v>
                </c:pt>
                <c:pt idx="3786">
                  <c:v>0.88201856426738312</c:v>
                </c:pt>
                <c:pt idx="3787">
                  <c:v>0.93351417878582377</c:v>
                </c:pt>
                <c:pt idx="3788">
                  <c:v>0.99019350778750848</c:v>
                </c:pt>
                <c:pt idx="3789">
                  <c:v>1.0297586244902457</c:v>
                </c:pt>
                <c:pt idx="3790">
                  <c:v>1.099886254789272</c:v>
                </c:pt>
                <c:pt idx="3791">
                  <c:v>1.1809278350515464</c:v>
                </c:pt>
                <c:pt idx="3792">
                  <c:v>1.2422782183850349</c:v>
                </c:pt>
                <c:pt idx="3793">
                  <c:v>1.2985402713377983</c:v>
                </c:pt>
                <c:pt idx="3794">
                  <c:v>1.3094860843207496</c:v>
                </c:pt>
                <c:pt idx="3795">
                  <c:v>1.2737117251680359</c:v>
                </c:pt>
                <c:pt idx="3796">
                  <c:v>1.1829200742888795</c:v>
                </c:pt>
                <c:pt idx="3797">
                  <c:v>0.95599015241625396</c:v>
                </c:pt>
                <c:pt idx="3798">
                  <c:v>0.78903725527466262</c:v>
                </c:pt>
                <c:pt idx="3799">
                  <c:v>0.72356413166855849</c:v>
                </c:pt>
                <c:pt idx="3800">
                  <c:v>0.68720932845042582</c:v>
                </c:pt>
                <c:pt idx="3801">
                  <c:v>0.64589222516526812</c:v>
                </c:pt>
                <c:pt idx="3802">
                  <c:v>0.58550348194093027</c:v>
                </c:pt>
                <c:pt idx="3803">
                  <c:v>0.51439201990458583</c:v>
                </c:pt>
                <c:pt idx="3804">
                  <c:v>0.45053151703347771</c:v>
                </c:pt>
                <c:pt idx="3805">
                  <c:v>0.40440254493103606</c:v>
                </c:pt>
                <c:pt idx="3806">
                  <c:v>0.33954103087828907</c:v>
                </c:pt>
                <c:pt idx="3807">
                  <c:v>0.28696996039795231</c:v>
                </c:pt>
                <c:pt idx="3808">
                  <c:v>0.28217389305255414</c:v>
                </c:pt>
                <c:pt idx="3809">
                  <c:v>0.30419243339838697</c:v>
                </c:pt>
                <c:pt idx="3810">
                  <c:v>0.28590116996593767</c:v>
                </c:pt>
                <c:pt idx="3811">
                  <c:v>0.29241661911924893</c:v>
                </c:pt>
                <c:pt idx="3812">
                  <c:v>0.29960506604929865</c:v>
                </c:pt>
                <c:pt idx="3813">
                  <c:v>0.36205957398010369</c:v>
                </c:pt>
                <c:pt idx="3814">
                  <c:v>0.37153523098460101</c:v>
                </c:pt>
                <c:pt idx="3815">
                  <c:v>0.41482055080465968</c:v>
                </c:pt>
                <c:pt idx="3816">
                  <c:v>0.43922130574584095</c:v>
                </c:pt>
                <c:pt idx="3817">
                  <c:v>0.3885498090445087</c:v>
                </c:pt>
                <c:pt idx="3818">
                  <c:v>0.34590400577408875</c:v>
                </c:pt>
                <c:pt idx="3819">
                  <c:v>0.3348729792147806</c:v>
                </c:pt>
                <c:pt idx="3820">
                  <c:v>0.32461643368564608</c:v>
                </c:pt>
                <c:pt idx="3821">
                  <c:v>0.23087139804816076</c:v>
                </c:pt>
                <c:pt idx="3822">
                  <c:v>0.15156176346540304</c:v>
                </c:pt>
                <c:pt idx="3823">
                  <c:v>0.13615273975780631</c:v>
                </c:pt>
                <c:pt idx="3824">
                  <c:v>0.12152849325732078</c:v>
                </c:pt>
                <c:pt idx="3825">
                  <c:v>0.1008105256067716</c:v>
                </c:pt>
                <c:pt idx="3826">
                  <c:v>9.2165065008479374E-2</c:v>
                </c:pt>
                <c:pt idx="3827">
                  <c:v>0.10450958023886572</c:v>
                </c:pt>
                <c:pt idx="3828">
                  <c:v>0.1371231901258011</c:v>
                </c:pt>
                <c:pt idx="3829">
                  <c:v>0.20010828636822289</c:v>
                </c:pt>
                <c:pt idx="3830">
                  <c:v>0.27055475812747098</c:v>
                </c:pt>
                <c:pt idx="3831">
                  <c:v>0.29225095953641222</c:v>
                </c:pt>
                <c:pt idx="3832">
                  <c:v>0.29417433624054351</c:v>
                </c:pt>
                <c:pt idx="3833">
                  <c:v>0.34492584203989191</c:v>
                </c:pt>
                <c:pt idx="3834">
                  <c:v>0.36788305979660313</c:v>
                </c:pt>
                <c:pt idx="3835">
                  <c:v>0.28178961710647049</c:v>
                </c:pt>
                <c:pt idx="3836">
                  <c:v>0.21202531645569622</c:v>
                </c:pt>
                <c:pt idx="3837">
                  <c:v>0.29519562627897744</c:v>
                </c:pt>
                <c:pt idx="3838">
                  <c:v>0.32415086887835703</c:v>
                </c:pt>
                <c:pt idx="3839">
                  <c:v>0.36248895174120555</c:v>
                </c:pt>
                <c:pt idx="3840">
                  <c:v>0.3598346615029418</c:v>
                </c:pt>
                <c:pt idx="3841">
                  <c:v>0.41957961194949189</c:v>
                </c:pt>
                <c:pt idx="3842">
                  <c:v>0.4068464811272885</c:v>
                </c:pt>
                <c:pt idx="3843">
                  <c:v>0.41557056523284747</c:v>
                </c:pt>
                <c:pt idx="3844">
                  <c:v>0.35701045158745809</c:v>
                </c:pt>
                <c:pt idx="3845">
                  <c:v>0.27462340672074159</c:v>
                </c:pt>
                <c:pt idx="3846">
                  <c:v>0.23820937848148271</c:v>
                </c:pt>
                <c:pt idx="3847">
                  <c:v>0.2156470949892407</c:v>
                </c:pt>
                <c:pt idx="3848">
                  <c:v>0.22116458076267698</c:v>
                </c:pt>
                <c:pt idx="3849">
                  <c:v>0.2409217276661603</c:v>
                </c:pt>
                <c:pt idx="3850">
                  <c:v>0.28851758866476201</c:v>
                </c:pt>
                <c:pt idx="3851">
                  <c:v>0.32552610724663195</c:v>
                </c:pt>
                <c:pt idx="3852">
                  <c:v>0.36572211793450726</c:v>
                </c:pt>
                <c:pt idx="3853">
                  <c:v>0.37124931805782879</c:v>
                </c:pt>
                <c:pt idx="3854">
                  <c:v>0.35283302178776088</c:v>
                </c:pt>
                <c:pt idx="3855">
                  <c:v>0.31118348958967496</c:v>
                </c:pt>
                <c:pt idx="3856">
                  <c:v>0.25367256001149924</c:v>
                </c:pt>
                <c:pt idx="3857">
                  <c:v>0.21749395370263733</c:v>
                </c:pt>
                <c:pt idx="3858">
                  <c:v>0.16055788842231553</c:v>
                </c:pt>
                <c:pt idx="3859">
                  <c:v>0.11972366586386107</c:v>
                </c:pt>
                <c:pt idx="3860">
                  <c:v>0.1214372596074822</c:v>
                </c:pt>
                <c:pt idx="3861">
                  <c:v>0.17015514243680618</c:v>
                </c:pt>
                <c:pt idx="3862">
                  <c:v>0.24652680325568341</c:v>
                </c:pt>
                <c:pt idx="3863">
                  <c:v>0.29956178134012518</c:v>
                </c:pt>
                <c:pt idx="3864">
                  <c:v>0.31679704390895874</c:v>
                </c:pt>
                <c:pt idx="3865">
                  <c:v>0.36474225965254892</c:v>
                </c:pt>
                <c:pt idx="3866">
                  <c:v>0.42758220342497</c:v>
                </c:pt>
                <c:pt idx="3867">
                  <c:v>0.45719127303537388</c:v>
                </c:pt>
                <c:pt idx="3868">
                  <c:v>0.5154481881754609</c:v>
                </c:pt>
                <c:pt idx="3869">
                  <c:v>0.49274897844723986</c:v>
                </c:pt>
                <c:pt idx="3870">
                  <c:v>0.48664440734557596</c:v>
                </c:pt>
                <c:pt idx="3871">
                  <c:v>0.51650256779300641</c:v>
                </c:pt>
                <c:pt idx="3872">
                  <c:v>0.56332025021464494</c:v>
                </c:pt>
                <c:pt idx="3873">
                  <c:v>0.62070687780944267</c:v>
                </c:pt>
                <c:pt idx="3874">
                  <c:v>0.65229283054003728</c:v>
                </c:pt>
                <c:pt idx="3875">
                  <c:v>0.66391842680262203</c:v>
                </c:pt>
                <c:pt idx="3876">
                  <c:v>0.64508372188498875</c:v>
                </c:pt>
                <c:pt idx="3877">
                  <c:v>0.62484734757096483</c:v>
                </c:pt>
                <c:pt idx="3878">
                  <c:v>0.55133673775908687</c:v>
                </c:pt>
                <c:pt idx="3879">
                  <c:v>0.43920096923849761</c:v>
                </c:pt>
                <c:pt idx="3880">
                  <c:v>0.2802589707011961</c:v>
                </c:pt>
                <c:pt idx="3881">
                  <c:v>0.21502632864665328</c:v>
                </c:pt>
                <c:pt idx="3882">
                  <c:v>0.22757980070933964</c:v>
                </c:pt>
                <c:pt idx="3883">
                  <c:v>0.30005882352941177</c:v>
                </c:pt>
                <c:pt idx="3884">
                  <c:v>0.32061927791465156</c:v>
                </c:pt>
                <c:pt idx="3885">
                  <c:v>0.37887963663890994</c:v>
                </c:pt>
                <c:pt idx="3886">
                  <c:v>0.49203086565353643</c:v>
                </c:pt>
                <c:pt idx="3887">
                  <c:v>0.57437307994570264</c:v>
                </c:pt>
                <c:pt idx="3888">
                  <c:v>0.61318159550815843</c:v>
                </c:pt>
                <c:pt idx="3889">
                  <c:v>0.64137346333192036</c:v>
                </c:pt>
                <c:pt idx="3890">
                  <c:v>0.63371822690638557</c:v>
                </c:pt>
                <c:pt idx="3891">
                  <c:v>0.69089781842135856</c:v>
                </c:pt>
                <c:pt idx="3892">
                  <c:v>0.71668449197860973</c:v>
                </c:pt>
                <c:pt idx="3893">
                  <c:v>0.67244888928223745</c:v>
                </c:pt>
                <c:pt idx="3894">
                  <c:v>0.6054198778901011</c:v>
                </c:pt>
                <c:pt idx="3895">
                  <c:v>0.63458538062082304</c:v>
                </c:pt>
                <c:pt idx="3896">
                  <c:v>0.69351200144378267</c:v>
                </c:pt>
                <c:pt idx="3897">
                  <c:v>0.73749608203107508</c:v>
                </c:pt>
                <c:pt idx="3898">
                  <c:v>0.67980102960662092</c:v>
                </c:pt>
                <c:pt idx="3899">
                  <c:v>0.87353765401894945</c:v>
                </c:pt>
                <c:pt idx="3900">
                  <c:v>0.92191224507813185</c:v>
                </c:pt>
                <c:pt idx="3901">
                  <c:v>0.95028680688336531</c:v>
                </c:pt>
                <c:pt idx="3902">
                  <c:v>1.0023970313688433</c:v>
                </c:pt>
                <c:pt idx="3903">
                  <c:v>1.031313226368042</c:v>
                </c:pt>
                <c:pt idx="3904">
                  <c:v>0.97518632771160307</c:v>
                </c:pt>
                <c:pt idx="3905">
                  <c:v>0.99988358285408274</c:v>
                </c:pt>
                <c:pt idx="3906">
                  <c:v>1.043020820500185</c:v>
                </c:pt>
                <c:pt idx="3907">
                  <c:v>1.071166410703595</c:v>
                </c:pt>
                <c:pt idx="3908">
                  <c:v>1.1066139092682656</c:v>
                </c:pt>
                <c:pt idx="3909">
                  <c:v>1.141758019263587</c:v>
                </c:pt>
                <c:pt idx="3910">
                  <c:v>1.2241960661879487</c:v>
                </c:pt>
                <c:pt idx="3911">
                  <c:v>1.2788704318936877</c:v>
                </c:pt>
                <c:pt idx="3912">
                  <c:v>1.3080067907008974</c:v>
                </c:pt>
                <c:pt idx="3913">
                  <c:v>1.2969566445417315</c:v>
                </c:pt>
                <c:pt idx="3914">
                  <c:v>1.2673033549478434</c:v>
                </c:pt>
                <c:pt idx="3915">
                  <c:v>1.2211843435223588</c:v>
                </c:pt>
                <c:pt idx="3916">
                  <c:v>1.1067402653543046</c:v>
                </c:pt>
                <c:pt idx="3917">
                  <c:v>0.9261946601666573</c:v>
                </c:pt>
                <c:pt idx="3918">
                  <c:v>0.79568880198904091</c:v>
                </c:pt>
                <c:pt idx="3919">
                  <c:v>0.76676967824031983</c:v>
                </c:pt>
                <c:pt idx="3920">
                  <c:v>0.785465573402224</c:v>
                </c:pt>
                <c:pt idx="3921">
                  <c:v>0.79094837088311787</c:v>
                </c:pt>
                <c:pt idx="3922">
                  <c:v>0.79223313890305858</c:v>
                </c:pt>
                <c:pt idx="3923">
                  <c:v>0.82422096638750819</c:v>
                </c:pt>
                <c:pt idx="3924">
                  <c:v>0.84227561869226109</c:v>
                </c:pt>
                <c:pt idx="3925">
                  <c:v>0.89164764737072644</c:v>
                </c:pt>
                <c:pt idx="3926">
                  <c:v>0.91364157432174242</c:v>
                </c:pt>
                <c:pt idx="3927">
                  <c:v>0.90288319309391596</c:v>
                </c:pt>
                <c:pt idx="3928">
                  <c:v>0.84121334588624308</c:v>
                </c:pt>
                <c:pt idx="3929">
                  <c:v>0.84820859214472966</c:v>
                </c:pt>
                <c:pt idx="3930">
                  <c:v>0.87217914305596989</c:v>
                </c:pt>
                <c:pt idx="3931">
                  <c:v>0.84950275074058401</c:v>
                </c:pt>
                <c:pt idx="3932">
                  <c:v>0.76123579939041286</c:v>
                </c:pt>
                <c:pt idx="3933">
                  <c:v>0.72632224526152855</c:v>
                </c:pt>
                <c:pt idx="3934">
                  <c:v>0.70428737693057786</c:v>
                </c:pt>
                <c:pt idx="3935">
                  <c:v>0.68467917346383922</c:v>
                </c:pt>
                <c:pt idx="3936">
                  <c:v>0.69274139214921449</c:v>
                </c:pt>
                <c:pt idx="3937">
                  <c:v>0.71015863775287447</c:v>
                </c:pt>
                <c:pt idx="3938">
                  <c:v>0.70731353039436418</c:v>
                </c:pt>
                <c:pt idx="3939">
                  <c:v>0.70615940706122893</c:v>
                </c:pt>
                <c:pt idx="3940">
                  <c:v>0.5941929740464289</c:v>
                </c:pt>
                <c:pt idx="3941">
                  <c:v>0.46277145811789039</c:v>
                </c:pt>
                <c:pt idx="3942">
                  <c:v>0.40691456592986863</c:v>
                </c:pt>
                <c:pt idx="3943">
                  <c:v>0.37853398240029956</c:v>
                </c:pt>
                <c:pt idx="3944">
                  <c:v>0.34915819457631819</c:v>
                </c:pt>
                <c:pt idx="3945">
                  <c:v>0.28717436235208615</c:v>
                </c:pt>
                <c:pt idx="3946">
                  <c:v>0.27306289881494988</c:v>
                </c:pt>
                <c:pt idx="3947">
                  <c:v>0.26346820809248556</c:v>
                </c:pt>
                <c:pt idx="3948">
                  <c:v>0.24739126419798685</c:v>
                </c:pt>
                <c:pt idx="3949">
                  <c:v>0.25265267625560012</c:v>
                </c:pt>
                <c:pt idx="3950">
                  <c:v>0.29657646226299994</c:v>
                </c:pt>
                <c:pt idx="3951">
                  <c:v>0.28624060519722944</c:v>
                </c:pt>
                <c:pt idx="3952">
                  <c:v>0.25290663116098816</c:v>
                </c:pt>
                <c:pt idx="3953">
                  <c:v>0.22901134128275494</c:v>
                </c:pt>
                <c:pt idx="3954">
                  <c:v>0.23100335046932149</c:v>
                </c:pt>
                <c:pt idx="3955">
                  <c:v>0.2255598476458035</c:v>
                </c:pt>
                <c:pt idx="3956">
                  <c:v>0.22280390666779254</c:v>
                </c:pt>
                <c:pt idx="3957">
                  <c:v>0.23581403570797244</c:v>
                </c:pt>
                <c:pt idx="3958">
                  <c:v>0.23591415548240063</c:v>
                </c:pt>
                <c:pt idx="3959">
                  <c:v>0.22356618646371298</c:v>
                </c:pt>
                <c:pt idx="3960">
                  <c:v>0.21231755072979708</c:v>
                </c:pt>
                <c:pt idx="3961">
                  <c:v>0.16150402213081932</c:v>
                </c:pt>
                <c:pt idx="3962">
                  <c:v>0.11063969862111847</c:v>
                </c:pt>
                <c:pt idx="3963">
                  <c:v>8.2910134687568984E-2</c:v>
                </c:pt>
                <c:pt idx="3964">
                  <c:v>6.3490426592416882E-2</c:v>
                </c:pt>
                <c:pt idx="3965">
                  <c:v>4.0696666859222463E-2</c:v>
                </c:pt>
                <c:pt idx="3966">
                  <c:v>2.7830784862828674E-2</c:v>
                </c:pt>
                <c:pt idx="3967">
                  <c:v>2.7328265634472784E-2</c:v>
                </c:pt>
                <c:pt idx="3968">
                  <c:v>2.9677745134043337E-2</c:v>
                </c:pt>
                <c:pt idx="3969">
                  <c:v>4.0918477284970368E-2</c:v>
                </c:pt>
                <c:pt idx="3970">
                  <c:v>4.5006621921928669E-2</c:v>
                </c:pt>
                <c:pt idx="3971">
                  <c:v>5.4350313515492694E-2</c:v>
                </c:pt>
                <c:pt idx="3972">
                  <c:v>6.5573770491803282E-2</c:v>
                </c:pt>
                <c:pt idx="3973">
                  <c:v>8.7305071040776241E-2</c:v>
                </c:pt>
                <c:pt idx="3974">
                  <c:v>0.10132337808409315</c:v>
                </c:pt>
                <c:pt idx="3975">
                  <c:v>0.11856975837879968</c:v>
                </c:pt>
                <c:pt idx="3976">
                  <c:v>0.18091709343213838</c:v>
                </c:pt>
                <c:pt idx="3977">
                  <c:v>0.24915163854954425</c:v>
                </c:pt>
                <c:pt idx="3978">
                  <c:v>0.28599570200573066</c:v>
                </c:pt>
                <c:pt idx="3979">
                  <c:v>0.28848322147651007</c:v>
                </c:pt>
                <c:pt idx="3980">
                  <c:v>0.31989013760825086</c:v>
                </c:pt>
                <c:pt idx="3981">
                  <c:v>0.42321747010845728</c:v>
                </c:pt>
                <c:pt idx="3982">
                  <c:v>0.51688237713996399</c:v>
                </c:pt>
                <c:pt idx="3983">
                  <c:v>0.60531129327281352</c:v>
                </c:pt>
                <c:pt idx="3984">
                  <c:v>0.71105847415682666</c:v>
                </c:pt>
                <c:pt idx="3985">
                  <c:v>0.73209926028495431</c:v>
                </c:pt>
                <c:pt idx="3986">
                  <c:v>0.77295553682049789</c:v>
                </c:pt>
                <c:pt idx="3987">
                  <c:v>0.79920043612574954</c:v>
                </c:pt>
                <c:pt idx="3988">
                  <c:v>0.81031585445317067</c:v>
                </c:pt>
                <c:pt idx="3989">
                  <c:v>0.71655269915462072</c:v>
                </c:pt>
                <c:pt idx="3990">
                  <c:v>0.68574613003095986</c:v>
                </c:pt>
                <c:pt idx="3991">
                  <c:v>0.71926652293854465</c:v>
                </c:pt>
                <c:pt idx="3992">
                  <c:v>0.79881260395490661</c:v>
                </c:pt>
                <c:pt idx="3993">
                  <c:v>0.83188100624985994</c:v>
                </c:pt>
                <c:pt idx="3994">
                  <c:v>0.86541429050654139</c:v>
                </c:pt>
                <c:pt idx="3995">
                  <c:v>0.89629948364888112</c:v>
                </c:pt>
                <c:pt idx="3996">
                  <c:v>0.92236168150985187</c:v>
                </c:pt>
                <c:pt idx="3997">
                  <c:v>0.92992187315599417</c:v>
                </c:pt>
                <c:pt idx="3998">
                  <c:v>0.94443356506413378</c:v>
                </c:pt>
                <c:pt idx="3999">
                  <c:v>1.0387085660850948</c:v>
                </c:pt>
                <c:pt idx="4000">
                  <c:v>1.03620844782725</c:v>
                </c:pt>
                <c:pt idx="4001">
                  <c:v>1.0356791338582678</c:v>
                </c:pt>
                <c:pt idx="4002">
                  <c:v>1.1128377470090065</c:v>
                </c:pt>
                <c:pt idx="4003">
                  <c:v>1.1428000342651552</c:v>
                </c:pt>
                <c:pt idx="4004">
                  <c:v>1.1445208947666279</c:v>
                </c:pt>
                <c:pt idx="4005">
                  <c:v>1.1579534192269574</c:v>
                </c:pt>
                <c:pt idx="4006">
                  <c:v>1.1968032947636793</c:v>
                </c:pt>
                <c:pt idx="4007">
                  <c:v>1.2314640440817464</c:v>
                </c:pt>
                <c:pt idx="4008">
                  <c:v>1.2363870020194603</c:v>
                </c:pt>
                <c:pt idx="4009">
                  <c:v>1.2181489024666217</c:v>
                </c:pt>
                <c:pt idx="4010">
                  <c:v>1.2053750192515016</c:v>
                </c:pt>
                <c:pt idx="4011">
                  <c:v>1.179921104536489</c:v>
                </c:pt>
                <c:pt idx="4012">
                  <c:v>1.0585079102063362</c:v>
                </c:pt>
                <c:pt idx="4013">
                  <c:v>0.90619902120717777</c:v>
                </c:pt>
                <c:pt idx="4014">
                  <c:v>0.82359063895510864</c:v>
                </c:pt>
                <c:pt idx="4015">
                  <c:v>0.74503574265289929</c:v>
                </c:pt>
                <c:pt idx="4016">
                  <c:v>0.61957944332955239</c:v>
                </c:pt>
                <c:pt idx="4017">
                  <c:v>0.53912772762007177</c:v>
                </c:pt>
                <c:pt idx="4018">
                  <c:v>0.48290270316363937</c:v>
                </c:pt>
                <c:pt idx="4019">
                  <c:v>0.43288971723113667</c:v>
                </c:pt>
                <c:pt idx="4020">
                  <c:v>0.45871450281593612</c:v>
                </c:pt>
                <c:pt idx="4021">
                  <c:v>0.48653076082999641</c:v>
                </c:pt>
                <c:pt idx="4022">
                  <c:v>0.46918862349175078</c:v>
                </c:pt>
                <c:pt idx="4023">
                  <c:v>0.38769807148998892</c:v>
                </c:pt>
                <c:pt idx="4024">
                  <c:v>0.31465821000704719</c:v>
                </c:pt>
                <c:pt idx="4025">
                  <c:v>0.29677644391477487</c:v>
                </c:pt>
                <c:pt idx="4026">
                  <c:v>0.30274811938849794</c:v>
                </c:pt>
                <c:pt idx="4027">
                  <c:v>0.31533299569511269</c:v>
                </c:pt>
                <c:pt idx="4028">
                  <c:v>0.31283562540929927</c:v>
                </c:pt>
                <c:pt idx="4029">
                  <c:v>0.33402316499215595</c:v>
                </c:pt>
                <c:pt idx="4030">
                  <c:v>0.36309585537004391</c:v>
                </c:pt>
                <c:pt idx="4031">
                  <c:v>0.36907178446207789</c:v>
                </c:pt>
                <c:pt idx="4032">
                  <c:v>0.36424459312276336</c:v>
                </c:pt>
                <c:pt idx="4033">
                  <c:v>0.37256311920741447</c:v>
                </c:pt>
                <c:pt idx="4034">
                  <c:v>0.35885983433490337</c:v>
                </c:pt>
                <c:pt idx="4035">
                  <c:v>0.38319706324044717</c:v>
                </c:pt>
                <c:pt idx="4036">
                  <c:v>0.35944219448039755</c:v>
                </c:pt>
                <c:pt idx="4037">
                  <c:v>0.32003640824725949</c:v>
                </c:pt>
                <c:pt idx="4038">
                  <c:v>0.29439521648296235</c:v>
                </c:pt>
                <c:pt idx="4039">
                  <c:v>0.26045089300237484</c:v>
                </c:pt>
                <c:pt idx="4040">
                  <c:v>0.25880738142443188</c:v>
                </c:pt>
                <c:pt idx="4041">
                  <c:v>0.29643394389876998</c:v>
                </c:pt>
                <c:pt idx="4042">
                  <c:v>0.34453708022388052</c:v>
                </c:pt>
                <c:pt idx="4043">
                  <c:v>0.3714981372290182</c:v>
                </c:pt>
                <c:pt idx="4044">
                  <c:v>0.41644349223352972</c:v>
                </c:pt>
                <c:pt idx="4045">
                  <c:v>0.46832973102785791</c:v>
                </c:pt>
                <c:pt idx="4046">
                  <c:v>0.48109339407744872</c:v>
                </c:pt>
                <c:pt idx="4047">
                  <c:v>0.48315581617999048</c:v>
                </c:pt>
                <c:pt idx="4048">
                  <c:v>0.42688232013385391</c:v>
                </c:pt>
                <c:pt idx="4049">
                  <c:v>0.37432847275518033</c:v>
                </c:pt>
                <c:pt idx="4050">
                  <c:v>0.34380582414154875</c:v>
                </c:pt>
                <c:pt idx="4051">
                  <c:v>0.29875676466286383</c:v>
                </c:pt>
                <c:pt idx="4052">
                  <c:v>0.27493408491681065</c:v>
                </c:pt>
                <c:pt idx="4053">
                  <c:v>0.25775273116519221</c:v>
                </c:pt>
                <c:pt idx="4054">
                  <c:v>0.25051084305583021</c:v>
                </c:pt>
                <c:pt idx="4055">
                  <c:v>0.23572453873892796</c:v>
                </c:pt>
                <c:pt idx="4056">
                  <c:v>0.22272015156483405</c:v>
                </c:pt>
                <c:pt idx="4057">
                  <c:v>0.20735190474424126</c:v>
                </c:pt>
                <c:pt idx="4058">
                  <c:v>0.17776370207533812</c:v>
                </c:pt>
                <c:pt idx="4059">
                  <c:v>0.16199098394247602</c:v>
                </c:pt>
                <c:pt idx="4060">
                  <c:v>0.11125408638798083</c:v>
                </c:pt>
                <c:pt idx="4061">
                  <c:v>6.5456449642171413E-2</c:v>
                </c:pt>
                <c:pt idx="4062">
                  <c:v>3.7933160685657906E-2</c:v>
                </c:pt>
                <c:pt idx="4063">
                  <c:v>3.3544085527072082E-2</c:v>
                </c:pt>
                <c:pt idx="4064">
                  <c:v>2.3414545947656285E-2</c:v>
                </c:pt>
                <c:pt idx="4065">
                  <c:v>2.0418127746460117E-2</c:v>
                </c:pt>
                <c:pt idx="4066">
                  <c:v>2.1862546474608724E-2</c:v>
                </c:pt>
                <c:pt idx="4067">
                  <c:v>3.0038193664345087E-2</c:v>
                </c:pt>
                <c:pt idx="4068">
                  <c:v>4.6976266034952842E-2</c:v>
                </c:pt>
                <c:pt idx="4069">
                  <c:v>7.1645402049619986E-2</c:v>
                </c:pt>
                <c:pt idx="4070">
                  <c:v>9.8126419379258145E-2</c:v>
                </c:pt>
                <c:pt idx="4071">
                  <c:v>0.14578097815580901</c:v>
                </c:pt>
                <c:pt idx="4072">
                  <c:v>0.19518282202811202</c:v>
                </c:pt>
                <c:pt idx="4073">
                  <c:v>0.25837780662531851</c:v>
                </c:pt>
                <c:pt idx="4074">
                  <c:v>0.32206998472058718</c:v>
                </c:pt>
                <c:pt idx="4075">
                  <c:v>0.35035982478097627</c:v>
                </c:pt>
                <c:pt idx="4076">
                  <c:v>0.35468074108333103</c:v>
                </c:pt>
                <c:pt idx="4077">
                  <c:v>0.3875531613269067</c:v>
                </c:pt>
                <c:pt idx="4078">
                  <c:v>0.43331716779825413</c:v>
                </c:pt>
                <c:pt idx="4079">
                  <c:v>0.51362886797943552</c:v>
                </c:pt>
                <c:pt idx="4080">
                  <c:v>0.59299402011416147</c:v>
                </c:pt>
                <c:pt idx="4081">
                  <c:v>0.65233638332052812</c:v>
                </c:pt>
                <c:pt idx="4082">
                  <c:v>0.67843662915799496</c:v>
                </c:pt>
                <c:pt idx="4083">
                  <c:v>0.70865665266604982</c:v>
                </c:pt>
                <c:pt idx="4084">
                  <c:v>0.66346572088198885</c:v>
                </c:pt>
                <c:pt idx="4085">
                  <c:v>0.56830184416391305</c:v>
                </c:pt>
                <c:pt idx="4086">
                  <c:v>0.58013335280089551</c:v>
                </c:pt>
                <c:pt idx="4087">
                  <c:v>0.60188890667520412</c:v>
                </c:pt>
                <c:pt idx="4088">
                  <c:v>0.62080163506301811</c:v>
                </c:pt>
                <c:pt idx="4089">
                  <c:v>0.60550682261208577</c:v>
                </c:pt>
                <c:pt idx="4090">
                  <c:v>0.60392130769401386</c:v>
                </c:pt>
                <c:pt idx="4091">
                  <c:v>0.60785629599803159</c:v>
                </c:pt>
                <c:pt idx="4092">
                  <c:v>0.60617905569541985</c:v>
                </c:pt>
                <c:pt idx="4093">
                  <c:v>0.7062145595628917</c:v>
                </c:pt>
                <c:pt idx="4094">
                  <c:v>0.77097156398104261</c:v>
                </c:pt>
                <c:pt idx="4095">
                  <c:v>0.79944795525532053</c:v>
                </c:pt>
                <c:pt idx="4096">
                  <c:v>0.79363221350813529</c:v>
                </c:pt>
                <c:pt idx="4097">
                  <c:v>0.81897642872495402</c:v>
                </c:pt>
                <c:pt idx="4098">
                  <c:v>0.80632716049382713</c:v>
                </c:pt>
                <c:pt idx="4099">
                  <c:v>0.74732367758186402</c:v>
                </c:pt>
                <c:pt idx="4100">
                  <c:v>0.64648810017414382</c:v>
                </c:pt>
                <c:pt idx="4101">
                  <c:v>0.60404955833428919</c:v>
                </c:pt>
                <c:pt idx="4102">
                  <c:v>0.63301433943804086</c:v>
                </c:pt>
                <c:pt idx="4103">
                  <c:v>0.65520415543428234</c:v>
                </c:pt>
                <c:pt idx="4104">
                  <c:v>0.66160990712074308</c:v>
                </c:pt>
                <c:pt idx="4105">
                  <c:v>0.65560576108443935</c:v>
                </c:pt>
                <c:pt idx="4106">
                  <c:v>0.65682302771855006</c:v>
                </c:pt>
                <c:pt idx="4107">
                  <c:v>0.61331038439472174</c:v>
                </c:pt>
                <c:pt idx="4108">
                  <c:v>0.47756110591692263</c:v>
                </c:pt>
                <c:pt idx="4109">
                  <c:v>0.35606771944800114</c:v>
                </c:pt>
                <c:pt idx="4110">
                  <c:v>0.31003615080048202</c:v>
                </c:pt>
                <c:pt idx="4111">
                  <c:v>0.30199843440622559</c:v>
                </c:pt>
                <c:pt idx="4112">
                  <c:v>0.2778626650550754</c:v>
                </c:pt>
                <c:pt idx="4113">
                  <c:v>0.28448773128632915</c:v>
                </c:pt>
                <c:pt idx="4114">
                  <c:v>0.2828190696536228</c:v>
                </c:pt>
                <c:pt idx="4115">
                  <c:v>0.28680771339791628</c:v>
                </c:pt>
                <c:pt idx="4116">
                  <c:v>0.27147040795477767</c:v>
                </c:pt>
                <c:pt idx="4117">
                  <c:v>0.26202699249692213</c:v>
                </c:pt>
                <c:pt idx="4118">
                  <c:v>0.23607980025695099</c:v>
                </c:pt>
                <c:pt idx="4119">
                  <c:v>0.25796788292491279</c:v>
                </c:pt>
                <c:pt idx="4120">
                  <c:v>0.26599619334069602</c:v>
                </c:pt>
                <c:pt idx="4121">
                  <c:v>0.26305683563748083</c:v>
                </c:pt>
                <c:pt idx="4122">
                  <c:v>0.26491179644174551</c:v>
                </c:pt>
                <c:pt idx="4123">
                  <c:v>0.22314223933336849</c:v>
                </c:pt>
                <c:pt idx="4124">
                  <c:v>0.17214742882365922</c:v>
                </c:pt>
                <c:pt idx="4125">
                  <c:v>0.15746315729112909</c:v>
                </c:pt>
                <c:pt idx="4126">
                  <c:v>0.14573481545169809</c:v>
                </c:pt>
                <c:pt idx="4127">
                  <c:v>0.14786505007907222</c:v>
                </c:pt>
                <c:pt idx="4128">
                  <c:v>0.15055234447142515</c:v>
                </c:pt>
                <c:pt idx="4129">
                  <c:v>0.13669894766283255</c:v>
                </c:pt>
                <c:pt idx="4130">
                  <c:v>0.12091928172330184</c:v>
                </c:pt>
                <c:pt idx="4131">
                  <c:v>0.13901536710301651</c:v>
                </c:pt>
                <c:pt idx="4132">
                  <c:v>0.12145980491086446</c:v>
                </c:pt>
                <c:pt idx="4133">
                  <c:v>0.1148575344030149</c:v>
                </c:pt>
                <c:pt idx="4134">
                  <c:v>8.3647030065998537E-2</c:v>
                </c:pt>
                <c:pt idx="4135">
                  <c:v>0.13596020899404507</c:v>
                </c:pt>
                <c:pt idx="4136">
                  <c:v>0.14152779331171009</c:v>
                </c:pt>
                <c:pt idx="4137">
                  <c:v>0.1398827616152844</c:v>
                </c:pt>
                <c:pt idx="4138">
                  <c:v>0.10572082379862699</c:v>
                </c:pt>
                <c:pt idx="4139">
                  <c:v>0.14696174209698498</c:v>
                </c:pt>
                <c:pt idx="4140">
                  <c:v>9.7112569857180892E-2</c:v>
                </c:pt>
                <c:pt idx="4141">
                  <c:v>4.6392689912260768E-2</c:v>
                </c:pt>
                <c:pt idx="4142">
                  <c:v>4.1872445001063359E-2</c:v>
                </c:pt>
                <c:pt idx="4143">
                  <c:v>3.8474454305588872E-2</c:v>
                </c:pt>
                <c:pt idx="4144">
                  <c:v>3.7582305480849496E-2</c:v>
                </c:pt>
                <c:pt idx="4145">
                  <c:v>6.4715532203228635E-2</c:v>
                </c:pt>
                <c:pt idx="4146">
                  <c:v>8.9595949568152491E-2</c:v>
                </c:pt>
                <c:pt idx="4147">
                  <c:v>0.15265504027527954</c:v>
                </c:pt>
                <c:pt idx="4148">
                  <c:v>0.18122537698682245</c:v>
                </c:pt>
                <c:pt idx="4149">
                  <c:v>0.17965986587056793</c:v>
                </c:pt>
                <c:pt idx="4150">
                  <c:v>0.17968462388023071</c:v>
                </c:pt>
                <c:pt idx="4151">
                  <c:v>0.1861890403775564</c:v>
                </c:pt>
                <c:pt idx="4152">
                  <c:v>0.22264749491396851</c:v>
                </c:pt>
                <c:pt idx="4153">
                  <c:v>0.2707370815267609</c:v>
                </c:pt>
                <c:pt idx="4154">
                  <c:v>0.28847389845033211</c:v>
                </c:pt>
                <c:pt idx="4155">
                  <c:v>0.28677610257855429</c:v>
                </c:pt>
                <c:pt idx="4156">
                  <c:v>0.28304441142479775</c:v>
                </c:pt>
                <c:pt idx="4157">
                  <c:v>0.18443100783601313</c:v>
                </c:pt>
                <c:pt idx="4158">
                  <c:v>0.15040766021994689</c:v>
                </c:pt>
                <c:pt idx="4159">
                  <c:v>0.13374490284074084</c:v>
                </c:pt>
                <c:pt idx="4160">
                  <c:v>0.14066018193281096</c:v>
                </c:pt>
                <c:pt idx="4161">
                  <c:v>0.18048865925212362</c:v>
                </c:pt>
                <c:pt idx="4162">
                  <c:v>0.2670882728835221</c:v>
                </c:pt>
                <c:pt idx="4163">
                  <c:v>0.25696015312336873</c:v>
                </c:pt>
                <c:pt idx="4164">
                  <c:v>0.31252093521806118</c:v>
                </c:pt>
                <c:pt idx="4165">
                  <c:v>0.43981205428482839</c:v>
                </c:pt>
                <c:pt idx="4166">
                  <c:v>0.49485599233923444</c:v>
                </c:pt>
                <c:pt idx="4167">
                  <c:v>0.54217072341252492</c:v>
                </c:pt>
                <c:pt idx="4168">
                  <c:v>0.65219814841743018</c:v>
                </c:pt>
                <c:pt idx="4169">
                  <c:v>0.63479918721621553</c:v>
                </c:pt>
                <c:pt idx="4170">
                  <c:v>0.64720627476348347</c:v>
                </c:pt>
                <c:pt idx="4171">
                  <c:v>0.6190435107698502</c:v>
                </c:pt>
                <c:pt idx="4172">
                  <c:v>0.63151602104256332</c:v>
                </c:pt>
                <c:pt idx="4173">
                  <c:v>0.59855019269590748</c:v>
                </c:pt>
                <c:pt idx="4174">
                  <c:v>0.64151064170267236</c:v>
                </c:pt>
                <c:pt idx="4175">
                  <c:v>0.75429307882545538</c:v>
                </c:pt>
                <c:pt idx="4176">
                  <c:v>0.77887068742373256</c:v>
                </c:pt>
                <c:pt idx="4177">
                  <c:v>0.79473123191716144</c:v>
                </c:pt>
                <c:pt idx="4178">
                  <c:v>0.78553954879043209</c:v>
                </c:pt>
                <c:pt idx="4179">
                  <c:v>0.78847139533966792</c:v>
                </c:pt>
                <c:pt idx="4180">
                  <c:v>0.76608419380460679</c:v>
                </c:pt>
                <c:pt idx="4181">
                  <c:v>0.68099260034382225</c:v>
                </c:pt>
                <c:pt idx="4182">
                  <c:v>0.628328226081035</c:v>
                </c:pt>
                <c:pt idx="4183">
                  <c:v>0.48959399522347324</c:v>
                </c:pt>
                <c:pt idx="4184">
                  <c:v>0.52513089005235603</c:v>
                </c:pt>
                <c:pt idx="4185">
                  <c:v>0.55083277442432377</c:v>
                </c:pt>
                <c:pt idx="4186">
                  <c:v>0.61419294480215725</c:v>
                </c:pt>
                <c:pt idx="4187">
                  <c:v>0.70507220166383799</c:v>
                </c:pt>
                <c:pt idx="4188">
                  <c:v>0.87195920528325022</c:v>
                </c:pt>
                <c:pt idx="4189">
                  <c:v>0.95547887084912608</c:v>
                </c:pt>
                <c:pt idx="4190">
                  <c:v>1.0194300146370863</c:v>
                </c:pt>
                <c:pt idx="4191">
                  <c:v>1.0287604988546706</c:v>
                </c:pt>
                <c:pt idx="4192">
                  <c:v>0.95606621121702262</c:v>
                </c:pt>
                <c:pt idx="4193">
                  <c:v>1.0476483246234245</c:v>
                </c:pt>
                <c:pt idx="4194">
                  <c:v>1.0508489512954586</c:v>
                </c:pt>
                <c:pt idx="4195">
                  <c:v>0.99839392161102025</c:v>
                </c:pt>
                <c:pt idx="4196">
                  <c:v>0.94774919614147912</c:v>
                </c:pt>
                <c:pt idx="4197">
                  <c:v>0.90174650863349737</c:v>
                </c:pt>
                <c:pt idx="4198">
                  <c:v>0.90826793336087019</c:v>
                </c:pt>
                <c:pt idx="4199">
                  <c:v>0.93111971960892836</c:v>
                </c:pt>
                <c:pt idx="4200">
                  <c:v>0.96304499883422701</c:v>
                </c:pt>
                <c:pt idx="4201">
                  <c:v>1.0260406233724608</c:v>
                </c:pt>
                <c:pt idx="4202">
                  <c:v>0.98498498498498499</c:v>
                </c:pt>
                <c:pt idx="4203">
                  <c:v>0.91051811944947181</c:v>
                </c:pt>
                <c:pt idx="4204">
                  <c:v>0.86457455770850888</c:v>
                </c:pt>
                <c:pt idx="4205">
                  <c:v>0.83177974434611612</c:v>
                </c:pt>
                <c:pt idx="4206">
                  <c:v>0.77507729920184076</c:v>
                </c:pt>
                <c:pt idx="4207">
                  <c:v>0.85645840077695046</c:v>
                </c:pt>
                <c:pt idx="4208">
                  <c:v>0.92343249970368613</c:v>
                </c:pt>
                <c:pt idx="4209">
                  <c:v>1.0003659703845504</c:v>
                </c:pt>
                <c:pt idx="4210">
                  <c:v>1.0426486784140969</c:v>
                </c:pt>
                <c:pt idx="4211">
                  <c:v>1.0919441757634378</c:v>
                </c:pt>
                <c:pt idx="4212">
                  <c:v>1.1016428512657359</c:v>
                </c:pt>
                <c:pt idx="4213">
                  <c:v>1.2051289309066204</c:v>
                </c:pt>
                <c:pt idx="4214">
                  <c:v>1.2421580564735895</c:v>
                </c:pt>
                <c:pt idx="4215">
                  <c:v>1.2165815817243246</c:v>
                </c:pt>
                <c:pt idx="4216">
                  <c:v>1.1437214704372958</c:v>
                </c:pt>
                <c:pt idx="4217">
                  <c:v>1.1272683215766519</c:v>
                </c:pt>
                <c:pt idx="4218">
                  <c:v>1.1596405182434155</c:v>
                </c:pt>
                <c:pt idx="4219">
                  <c:v>1.1496374227294339</c:v>
                </c:pt>
                <c:pt idx="4220">
                  <c:v>1.1339082075795921</c:v>
                </c:pt>
                <c:pt idx="4221">
                  <c:v>1.1350153100280684</c:v>
                </c:pt>
                <c:pt idx="4222">
                  <c:v>1.1881316489361702</c:v>
                </c:pt>
                <c:pt idx="4223">
                  <c:v>1.2571348235624913</c:v>
                </c:pt>
                <c:pt idx="4224">
                  <c:v>1.2928725229006239</c:v>
                </c:pt>
                <c:pt idx="4225">
                  <c:v>1.327696424589311</c:v>
                </c:pt>
                <c:pt idx="4226">
                  <c:v>1.3436770968339196</c:v>
                </c:pt>
                <c:pt idx="4227">
                  <c:v>1.3206974419723836</c:v>
                </c:pt>
                <c:pt idx="4228">
                  <c:v>1.2019950997549878</c:v>
                </c:pt>
                <c:pt idx="4229">
                  <c:v>1.0272926410514476</c:v>
                </c:pt>
                <c:pt idx="4230">
                  <c:v>0.92874210830797099</c:v>
                </c:pt>
                <c:pt idx="4231">
                  <c:v>0.8889872768793402</c:v>
                </c:pt>
                <c:pt idx="4232">
                  <c:v>0.86612762438553781</c:v>
                </c:pt>
                <c:pt idx="4233">
                  <c:v>0.8324616691252068</c:v>
                </c:pt>
                <c:pt idx="4234">
                  <c:v>0.82972280975175339</c:v>
                </c:pt>
                <c:pt idx="4235">
                  <c:v>0.83470549545258665</c:v>
                </c:pt>
                <c:pt idx="4236">
                  <c:v>0.83827651686409244</c:v>
                </c:pt>
                <c:pt idx="4237">
                  <c:v>0.86645461669663015</c:v>
                </c:pt>
                <c:pt idx="4238">
                  <c:v>0.91220628187407649</c:v>
                </c:pt>
                <c:pt idx="4239">
                  <c:v>0.92614093714174195</c:v>
                </c:pt>
                <c:pt idx="4240">
                  <c:v>0.89120208653532673</c:v>
                </c:pt>
                <c:pt idx="4241">
                  <c:v>0.88538075652029191</c:v>
                </c:pt>
                <c:pt idx="4242">
                  <c:v>0.8908875022105448</c:v>
                </c:pt>
                <c:pt idx="4243">
                  <c:v>0.87953416314974076</c:v>
                </c:pt>
                <c:pt idx="4244">
                  <c:v>0.8447217270746683</c:v>
                </c:pt>
                <c:pt idx="4245">
                  <c:v>0.83195785776997366</c:v>
                </c:pt>
                <c:pt idx="4246">
                  <c:v>0.84074120445724299</c:v>
                </c:pt>
                <c:pt idx="4247">
                  <c:v>0.85385559419104118</c:v>
                </c:pt>
                <c:pt idx="4248">
                  <c:v>0.81878236029280482</c:v>
                </c:pt>
                <c:pt idx="4249">
                  <c:v>0.74279767773031014</c:v>
                </c:pt>
                <c:pt idx="4250">
                  <c:v>0.66222840002926331</c:v>
                </c:pt>
                <c:pt idx="4251">
                  <c:v>0.59789234045678197</c:v>
                </c:pt>
                <c:pt idx="4252">
                  <c:v>0.49667636061487325</c:v>
                </c:pt>
                <c:pt idx="4253">
                  <c:v>0.36583410056131382</c:v>
                </c:pt>
                <c:pt idx="4254">
                  <c:v>0.30396195707456003</c:v>
                </c:pt>
                <c:pt idx="4255">
                  <c:v>0.28819958896907705</c:v>
                </c:pt>
                <c:pt idx="4256">
                  <c:v>0.2289988492520138</c:v>
                </c:pt>
                <c:pt idx="4257">
                  <c:v>0.18007662835249044</c:v>
                </c:pt>
                <c:pt idx="4258">
                  <c:v>0.15141258548041719</c:v>
                </c:pt>
                <c:pt idx="4259">
                  <c:v>0.11007632518731181</c:v>
                </c:pt>
                <c:pt idx="4260">
                  <c:v>7.379490042806626E-2</c:v>
                </c:pt>
                <c:pt idx="4261">
                  <c:v>5.6026477451307205E-2</c:v>
                </c:pt>
                <c:pt idx="4262">
                  <c:v>3.3885728419490474E-2</c:v>
                </c:pt>
                <c:pt idx="4263">
                  <c:v>2.3814946979475112E-2</c:v>
                </c:pt>
                <c:pt idx="4264">
                  <c:v>1.9875746250546035E-2</c:v>
                </c:pt>
                <c:pt idx="4265">
                  <c:v>1.3814407512665265E-2</c:v>
                </c:pt>
                <c:pt idx="4266">
                  <c:v>1.1287973366625051E-2</c:v>
                </c:pt>
                <c:pt idx="4267">
                  <c:v>7.5080835205787256E-3</c:v>
                </c:pt>
                <c:pt idx="4268">
                  <c:v>7.6706504251896112E-3</c:v>
                </c:pt>
                <c:pt idx="4269">
                  <c:v>1.5567439096850861E-2</c:v>
                </c:pt>
                <c:pt idx="4270">
                  <c:v>3.959985982350505E-2</c:v>
                </c:pt>
                <c:pt idx="4271">
                  <c:v>7.6461100243659708E-2</c:v>
                </c:pt>
                <c:pt idx="4272">
                  <c:v>9.8933734077572624E-2</c:v>
                </c:pt>
                <c:pt idx="4273">
                  <c:v>9.928220903830659E-2</c:v>
                </c:pt>
                <c:pt idx="4274">
                  <c:v>0.13122520934332305</c:v>
                </c:pt>
                <c:pt idx="4275">
                  <c:v>0.17381022760863141</c:v>
                </c:pt>
                <c:pt idx="4276">
                  <c:v>0.20129892926101456</c:v>
                </c:pt>
                <c:pt idx="4277">
                  <c:v>0.17559354510344</c:v>
                </c:pt>
                <c:pt idx="4278">
                  <c:v>0.15931397607606582</c:v>
                </c:pt>
                <c:pt idx="4279">
                  <c:v>0.1846902444813672</c:v>
                </c:pt>
                <c:pt idx="4280">
                  <c:v>0.24541107871720116</c:v>
                </c:pt>
                <c:pt idx="4281">
                  <c:v>0.27267969692143168</c:v>
                </c:pt>
                <c:pt idx="4282">
                  <c:v>0.32378405330674037</c:v>
                </c:pt>
                <c:pt idx="4283">
                  <c:v>0.40300903628273937</c:v>
                </c:pt>
                <c:pt idx="4284">
                  <c:v>0.44490525247623036</c:v>
                </c:pt>
                <c:pt idx="4285">
                  <c:v>0.53326930991905608</c:v>
                </c:pt>
                <c:pt idx="4286">
                  <c:v>0.56643273462590693</c:v>
                </c:pt>
                <c:pt idx="4287">
                  <c:v>0.69131738716992175</c:v>
                </c:pt>
                <c:pt idx="4288">
                  <c:v>0.70830999066293177</c:v>
                </c:pt>
                <c:pt idx="4289">
                  <c:v>0.74332673361799573</c:v>
                </c:pt>
                <c:pt idx="4290">
                  <c:v>0.77961863871700976</c:v>
                </c:pt>
                <c:pt idx="4291">
                  <c:v>0.816721460454922</c:v>
                </c:pt>
                <c:pt idx="4292">
                  <c:v>0.89346934187601856</c:v>
                </c:pt>
                <c:pt idx="4293">
                  <c:v>0.97599004888773178</c:v>
                </c:pt>
                <c:pt idx="4294">
                  <c:v>1.0957052539786352</c:v>
                </c:pt>
                <c:pt idx="4295">
                  <c:v>1.1772883734919628</c:v>
                </c:pt>
                <c:pt idx="4296">
                  <c:v>1.1859716634598567</c:v>
                </c:pt>
                <c:pt idx="4297">
                  <c:v>1.1875738585496867</c:v>
                </c:pt>
                <c:pt idx="4298">
                  <c:v>1.1297128275168027</c:v>
                </c:pt>
                <c:pt idx="4299">
                  <c:v>1.0293246762512933</c:v>
                </c:pt>
                <c:pt idx="4300">
                  <c:v>0.8616978203657466</c:v>
                </c:pt>
                <c:pt idx="4301">
                  <c:v>0.66109882435106515</c:v>
                </c:pt>
                <c:pt idx="4302">
                  <c:v>0.53162789537985877</c:v>
                </c:pt>
                <c:pt idx="4303">
                  <c:v>0.49906859777394869</c:v>
                </c:pt>
                <c:pt idx="4304">
                  <c:v>0.50772415989807285</c:v>
                </c:pt>
                <c:pt idx="4305">
                  <c:v>0.47174842434659969</c:v>
                </c:pt>
                <c:pt idx="4306">
                  <c:v>0.47059342015380878</c:v>
                </c:pt>
                <c:pt idx="4307">
                  <c:v>0.46555942094041075</c:v>
                </c:pt>
                <c:pt idx="4308">
                  <c:v>0.43942891722885902</c:v>
                </c:pt>
                <c:pt idx="4309">
                  <c:v>0.39144947416552356</c:v>
                </c:pt>
                <c:pt idx="4310">
                  <c:v>0.36850330310420759</c:v>
                </c:pt>
                <c:pt idx="4311">
                  <c:v>0.36243398943831018</c:v>
                </c:pt>
                <c:pt idx="4312">
                  <c:v>0.34471147193136209</c:v>
                </c:pt>
                <c:pt idx="4313">
                  <c:v>0.36090118351632677</c:v>
                </c:pt>
                <c:pt idx="4314">
                  <c:v>0.36807371435686714</c:v>
                </c:pt>
                <c:pt idx="4315">
                  <c:v>0.36015447283499974</c:v>
                </c:pt>
                <c:pt idx="4316">
                  <c:v>0.35894301036427795</c:v>
                </c:pt>
                <c:pt idx="4317">
                  <c:v>0.3924618431783759</c:v>
                </c:pt>
                <c:pt idx="4318">
                  <c:v>0.42369503321733626</c:v>
                </c:pt>
                <c:pt idx="4319">
                  <c:v>0.47966382016403958</c:v>
                </c:pt>
                <c:pt idx="4320">
                  <c:v>0.56727763569195799</c:v>
                </c:pt>
                <c:pt idx="4321">
                  <c:v>0.60458359060037048</c:v>
                </c:pt>
                <c:pt idx="4322">
                  <c:v>0.61238223418573345</c:v>
                </c:pt>
                <c:pt idx="4323">
                  <c:v>0.60355795148247982</c:v>
                </c:pt>
                <c:pt idx="4324">
                  <c:v>0.58416111964499062</c:v>
                </c:pt>
                <c:pt idx="4325">
                  <c:v>0.47507116236757924</c:v>
                </c:pt>
                <c:pt idx="4326">
                  <c:v>0.40538701874622052</c:v>
                </c:pt>
                <c:pt idx="4327">
                  <c:v>0.34638667292351005</c:v>
                </c:pt>
                <c:pt idx="4328">
                  <c:v>0.36100319532884301</c:v>
                </c:pt>
                <c:pt idx="4329">
                  <c:v>0.33638720057204147</c:v>
                </c:pt>
                <c:pt idx="4330">
                  <c:v>0.33727529677784057</c:v>
                </c:pt>
                <c:pt idx="4331">
                  <c:v>0.33767684288905436</c:v>
                </c:pt>
                <c:pt idx="4332">
                  <c:v>0.33620178744992063</c:v>
                </c:pt>
                <c:pt idx="4333">
                  <c:v>0.2674808487726083</c:v>
                </c:pt>
                <c:pt idx="4334">
                  <c:v>0.25368335780466811</c:v>
                </c:pt>
                <c:pt idx="4335">
                  <c:v>0.26243192344887262</c:v>
                </c:pt>
                <c:pt idx="4336">
                  <c:v>0.24835417635398055</c:v>
                </c:pt>
                <c:pt idx="4337">
                  <c:v>0.24885284123322665</c:v>
                </c:pt>
                <c:pt idx="4338">
                  <c:v>0.26486414844267725</c:v>
                </c:pt>
                <c:pt idx="4339">
                  <c:v>0.319565898538753</c:v>
                </c:pt>
                <c:pt idx="4340">
                  <c:v>0.37148853245390501</c:v>
                </c:pt>
                <c:pt idx="4341">
                  <c:v>0.45674363602414886</c:v>
                </c:pt>
                <c:pt idx="4342">
                  <c:v>0.52068999900289159</c:v>
                </c:pt>
                <c:pt idx="4343">
                  <c:v>0.53400539542808456</c:v>
                </c:pt>
                <c:pt idx="4344">
                  <c:v>0.49007294878544039</c:v>
                </c:pt>
                <c:pt idx="4345">
                  <c:v>0.48333985138834568</c:v>
                </c:pt>
                <c:pt idx="4346">
                  <c:v>0.48550954153139592</c:v>
                </c:pt>
                <c:pt idx="4347">
                  <c:v>0.45442055923711011</c:v>
                </c:pt>
                <c:pt idx="4348">
                  <c:v>0.46927710843373494</c:v>
                </c:pt>
                <c:pt idx="4349">
                  <c:v>0.419638495359062</c:v>
                </c:pt>
                <c:pt idx="4350">
                  <c:v>0.31809797089567537</c:v>
                </c:pt>
                <c:pt idx="4351">
                  <c:v>0.25696017877649835</c:v>
                </c:pt>
                <c:pt idx="4352">
                  <c:v>0.27415889088393725</c:v>
                </c:pt>
                <c:pt idx="4353">
                  <c:v>0.25579580274035962</c:v>
                </c:pt>
                <c:pt idx="4354">
                  <c:v>0.26817969933574176</c:v>
                </c:pt>
                <c:pt idx="4355">
                  <c:v>0.27661068523611676</c:v>
                </c:pt>
                <c:pt idx="4356">
                  <c:v>0.29391660970608341</c:v>
                </c:pt>
                <c:pt idx="4357">
                  <c:v>0.31528498195164861</c:v>
                </c:pt>
                <c:pt idx="4358">
                  <c:v>0.30897523009450861</c:v>
                </c:pt>
                <c:pt idx="4359">
                  <c:v>0.3551260244317303</c:v>
                </c:pt>
                <c:pt idx="4360">
                  <c:v>0.30194805194805191</c:v>
                </c:pt>
                <c:pt idx="4361">
                  <c:v>0.29143057421578361</c:v>
                </c:pt>
                <c:pt idx="4362">
                  <c:v>0.33471755725190844</c:v>
                </c:pt>
                <c:pt idx="4363">
                  <c:v>0.39495825305073862</c:v>
                </c:pt>
                <c:pt idx="4364">
                  <c:v>0.41579000100190361</c:v>
                </c:pt>
                <c:pt idx="4365">
                  <c:v>0.48080302825469778</c:v>
                </c:pt>
                <c:pt idx="4366">
                  <c:v>0.58933839022334589</c:v>
                </c:pt>
                <c:pt idx="4367">
                  <c:v>0.70357667809897106</c:v>
                </c:pt>
                <c:pt idx="4368">
                  <c:v>0.75526147959183665</c:v>
                </c:pt>
                <c:pt idx="4369">
                  <c:v>0.81773763087661666</c:v>
                </c:pt>
                <c:pt idx="4370">
                  <c:v>0.86447313619325272</c:v>
                </c:pt>
                <c:pt idx="4371">
                  <c:v>0.89768769146837879</c:v>
                </c:pt>
                <c:pt idx="4372">
                  <c:v>0.88769739873497244</c:v>
                </c:pt>
                <c:pt idx="4373">
                  <c:v>0.80113636363636376</c:v>
                </c:pt>
                <c:pt idx="4374">
                  <c:v>0.73253381155196873</c:v>
                </c:pt>
                <c:pt idx="4375">
                  <c:v>0.68172164332647522</c:v>
                </c:pt>
                <c:pt idx="4376">
                  <c:v>0.66055246547090818</c:v>
                </c:pt>
                <c:pt idx="4377">
                  <c:v>0.77592443129166289</c:v>
                </c:pt>
                <c:pt idx="4378">
                  <c:v>0.88202869808679418</c:v>
                </c:pt>
                <c:pt idx="4379">
                  <c:v>0.9463112720053718</c:v>
                </c:pt>
                <c:pt idx="4380">
                  <c:v>1.01316929474961</c:v>
                </c:pt>
                <c:pt idx="4381">
                  <c:v>1.1294433464113987</c:v>
                </c:pt>
                <c:pt idx="4382">
                  <c:v>1.1852038099745605</c:v>
                </c:pt>
                <c:pt idx="4383">
                  <c:v>1.1974822974036192</c:v>
                </c:pt>
                <c:pt idx="4384">
                  <c:v>1.1538822879248409</c:v>
                </c:pt>
                <c:pt idx="4385">
                  <c:v>1.1460310494267376</c:v>
                </c:pt>
                <c:pt idx="4386">
                  <c:v>1.1546633160089095</c:v>
                </c:pt>
                <c:pt idx="4387">
                  <c:v>1.1512451792280787</c:v>
                </c:pt>
                <c:pt idx="4388">
                  <c:v>1.152770440349296</c:v>
                </c:pt>
                <c:pt idx="4389">
                  <c:v>1.1355646137188715</c:v>
                </c:pt>
                <c:pt idx="4390">
                  <c:v>1.1790594322101353</c:v>
                </c:pt>
                <c:pt idx="4391">
                  <c:v>1.0337602672977864</c:v>
                </c:pt>
                <c:pt idx="4392">
                  <c:v>1.2551443348127496</c:v>
                </c:pt>
                <c:pt idx="4393">
                  <c:v>1.2069004782509676</c:v>
                </c:pt>
                <c:pt idx="4394">
                  <c:v>1.1502687454732587</c:v>
                </c:pt>
                <c:pt idx="4395">
                  <c:v>1.1096958468426741</c:v>
                </c:pt>
                <c:pt idx="4396">
                  <c:v>0.9601420101017496</c:v>
                </c:pt>
                <c:pt idx="4397">
                  <c:v>0.77116541586553355</c:v>
                </c:pt>
                <c:pt idx="4398">
                  <c:v>0.69104426458569501</c:v>
                </c:pt>
                <c:pt idx="4399">
                  <c:v>0.67747085288568532</c:v>
                </c:pt>
                <c:pt idx="4400">
                  <c:v>0.67030049573573303</c:v>
                </c:pt>
                <c:pt idx="4401">
                  <c:v>0.65885017501315457</c:v>
                </c:pt>
                <c:pt idx="4402">
                  <c:v>0.63985075306001737</c:v>
                </c:pt>
                <c:pt idx="4403">
                  <c:v>0.64554428107958861</c:v>
                </c:pt>
                <c:pt idx="4404">
                  <c:v>0.61501520729950376</c:v>
                </c:pt>
                <c:pt idx="4405">
                  <c:v>0.53286237205940634</c:v>
                </c:pt>
                <c:pt idx="4406">
                  <c:v>0.53023334624322238</c:v>
                </c:pt>
                <c:pt idx="4407">
                  <c:v>0.62244872957146002</c:v>
                </c:pt>
                <c:pt idx="4408">
                  <c:v>0.57442220242839059</c:v>
                </c:pt>
                <c:pt idx="4409">
                  <c:v>0.696230651633862</c:v>
                </c:pt>
                <c:pt idx="4410">
                  <c:v>0.6925369332654101</c:v>
                </c:pt>
                <c:pt idx="4411">
                  <c:v>0.69438961741246441</c:v>
                </c:pt>
                <c:pt idx="4412">
                  <c:v>0.71307883960021767</c:v>
                </c:pt>
                <c:pt idx="4413">
                  <c:v>0.76129489184643073</c:v>
                </c:pt>
                <c:pt idx="4414">
                  <c:v>0.86880347257171631</c:v>
                </c:pt>
                <c:pt idx="4415">
                  <c:v>0.953165713512233</c:v>
                </c:pt>
                <c:pt idx="4416">
                  <c:v>1.0076678445229681</c:v>
                </c:pt>
                <c:pt idx="4417">
                  <c:v>1.0390929276016452</c:v>
                </c:pt>
                <c:pt idx="4418">
                  <c:v>1.054203902972825</c:v>
                </c:pt>
                <c:pt idx="4419">
                  <c:v>0.98866114260793725</c:v>
                </c:pt>
                <c:pt idx="4420">
                  <c:v>0.87204981765636824</c:v>
                </c:pt>
                <c:pt idx="4421">
                  <c:v>0.72126081582200241</c:v>
                </c:pt>
                <c:pt idx="4422">
                  <c:v>0.60316613304873701</c:v>
                </c:pt>
                <c:pt idx="4423">
                  <c:v>0.54060428803924809</c:v>
                </c:pt>
                <c:pt idx="4424">
                  <c:v>0.49468146740515856</c:v>
                </c:pt>
                <c:pt idx="4425">
                  <c:v>0.3996506897771489</c:v>
                </c:pt>
                <c:pt idx="4426">
                  <c:v>0.4143840330350998</c:v>
                </c:pt>
                <c:pt idx="4427">
                  <c:v>0.39831146605818601</c:v>
                </c:pt>
                <c:pt idx="4428">
                  <c:v>0.4229918252323171</c:v>
                </c:pt>
                <c:pt idx="4429">
                  <c:v>0.44620373903090421</c:v>
                </c:pt>
                <c:pt idx="4430">
                  <c:v>0.473112425449776</c:v>
                </c:pt>
                <c:pt idx="4431">
                  <c:v>0.49146215350467876</c:v>
                </c:pt>
                <c:pt idx="4432">
                  <c:v>0.49802466756600494</c:v>
                </c:pt>
                <c:pt idx="4433">
                  <c:v>0.49347001133507462</c:v>
                </c:pt>
                <c:pt idx="4434">
                  <c:v>0.48560375937897549</c:v>
                </c:pt>
                <c:pt idx="4435">
                  <c:v>0.44704915788032318</c:v>
                </c:pt>
                <c:pt idx="4436">
                  <c:v>0.41180212218463585</c:v>
                </c:pt>
                <c:pt idx="4437">
                  <c:v>0.37931239945182621</c:v>
                </c:pt>
                <c:pt idx="4438">
                  <c:v>0.36402813866531464</c:v>
                </c:pt>
                <c:pt idx="4439">
                  <c:v>0.36470829488362561</c:v>
                </c:pt>
                <c:pt idx="4440">
                  <c:v>0.34671403197158079</c:v>
                </c:pt>
                <c:pt idx="4441">
                  <c:v>0.34808152607528831</c:v>
                </c:pt>
                <c:pt idx="4442">
                  <c:v>0.34065369078222552</c:v>
                </c:pt>
                <c:pt idx="4443">
                  <c:v>0.31931103014243128</c:v>
                </c:pt>
                <c:pt idx="4444">
                  <c:v>0.27722113228699546</c:v>
                </c:pt>
                <c:pt idx="4445">
                  <c:v>0.19840717075977352</c:v>
                </c:pt>
                <c:pt idx="4446">
                  <c:v>0.1832176590304232</c:v>
                </c:pt>
                <c:pt idx="4447">
                  <c:v>0.1894250638142701</c:v>
                </c:pt>
                <c:pt idx="4448">
                  <c:v>0.16954926624737943</c:v>
                </c:pt>
                <c:pt idx="4449">
                  <c:v>0.15882792086599479</c:v>
                </c:pt>
                <c:pt idx="4450">
                  <c:v>0.15989185157561067</c:v>
                </c:pt>
                <c:pt idx="4451">
                  <c:v>0.17656644859592355</c:v>
                </c:pt>
                <c:pt idx="4452">
                  <c:v>0.19808344320964399</c:v>
                </c:pt>
                <c:pt idx="4453">
                  <c:v>0.21786455567891108</c:v>
                </c:pt>
                <c:pt idx="4454">
                  <c:v>0.24349085099478268</c:v>
                </c:pt>
                <c:pt idx="4455">
                  <c:v>0.27291805292521881</c:v>
                </c:pt>
                <c:pt idx="4456">
                  <c:v>0.25915250061591527</c:v>
                </c:pt>
                <c:pt idx="4457">
                  <c:v>0.2491423992788642</c:v>
                </c:pt>
                <c:pt idx="4458">
                  <c:v>0.25215415948613507</c:v>
                </c:pt>
                <c:pt idx="4459">
                  <c:v>0.22412425825152452</c:v>
                </c:pt>
                <c:pt idx="4460">
                  <c:v>0.22894495937750317</c:v>
                </c:pt>
                <c:pt idx="4461">
                  <c:v>0.24277831872768577</c:v>
                </c:pt>
                <c:pt idx="4462">
                  <c:v>0.23086346075321168</c:v>
                </c:pt>
                <c:pt idx="4463">
                  <c:v>0.19845055651409049</c:v>
                </c:pt>
                <c:pt idx="4464">
                  <c:v>0.19137485394611053</c:v>
                </c:pt>
                <c:pt idx="4465">
                  <c:v>0.18331455979070529</c:v>
                </c:pt>
                <c:pt idx="4466">
                  <c:v>0.17896159888925425</c:v>
                </c:pt>
                <c:pt idx="4467">
                  <c:v>0.15412776862529745</c:v>
                </c:pt>
                <c:pt idx="4468">
                  <c:v>0.11857845359746103</c:v>
                </c:pt>
                <c:pt idx="4469">
                  <c:v>6.7653531912327772E-2</c:v>
                </c:pt>
                <c:pt idx="4470">
                  <c:v>4.1918507711546482E-2</c:v>
                </c:pt>
                <c:pt idx="4471">
                  <c:v>4.5918863702694809E-2</c:v>
                </c:pt>
                <c:pt idx="4472">
                  <c:v>4.5808990103731961E-2</c:v>
                </c:pt>
                <c:pt idx="4473">
                  <c:v>4.2928707268426174E-2</c:v>
                </c:pt>
                <c:pt idx="4474">
                  <c:v>4.2293407613741882E-2</c:v>
                </c:pt>
                <c:pt idx="4475">
                  <c:v>4.0254037208423833E-2</c:v>
                </c:pt>
                <c:pt idx="4476">
                  <c:v>3.3045067847852071E-2</c:v>
                </c:pt>
                <c:pt idx="4477">
                  <c:v>3.3326925849392092E-2</c:v>
                </c:pt>
                <c:pt idx="4478">
                  <c:v>4.3611916425072478E-2</c:v>
                </c:pt>
                <c:pt idx="4479">
                  <c:v>4.50854102492299E-2</c:v>
                </c:pt>
                <c:pt idx="4480">
                  <c:v>4.3542654028436024E-2</c:v>
                </c:pt>
                <c:pt idx="4481">
                  <c:v>3.4448967284788176E-2</c:v>
                </c:pt>
                <c:pt idx="4482">
                  <c:v>3.2576375549298743E-2</c:v>
                </c:pt>
                <c:pt idx="4483">
                  <c:v>2.572719259585721E-2</c:v>
                </c:pt>
                <c:pt idx="4484">
                  <c:v>2.2021359279196292E-2</c:v>
                </c:pt>
                <c:pt idx="4485">
                  <c:v>2.0062825983878617E-2</c:v>
                </c:pt>
                <c:pt idx="4486">
                  <c:v>3.4067882472137795E-2</c:v>
                </c:pt>
                <c:pt idx="4487">
                  <c:v>4.0794088602853551E-2</c:v>
                </c:pt>
                <c:pt idx="4488">
                  <c:v>5.8347590533219272E-2</c:v>
                </c:pt>
                <c:pt idx="4489">
                  <c:v>5.1026392961876832E-2</c:v>
                </c:pt>
                <c:pt idx="4490">
                  <c:v>5.2370554054554208E-2</c:v>
                </c:pt>
                <c:pt idx="4491">
                  <c:v>5.143576080521018E-2</c:v>
                </c:pt>
                <c:pt idx="4492">
                  <c:v>4.4056583855302971E-2</c:v>
                </c:pt>
                <c:pt idx="4493">
                  <c:v>2.7921563851166193E-2</c:v>
                </c:pt>
                <c:pt idx="4494">
                  <c:v>1.0231995370613919E-2</c:v>
                </c:pt>
                <c:pt idx="4495">
                  <c:v>6.4591610402905406E-3</c:v>
                </c:pt>
                <c:pt idx="4496">
                  <c:v>4.6653337141769015E-3</c:v>
                </c:pt>
                <c:pt idx="4497">
                  <c:v>3.6132020845396642E-3</c:v>
                </c:pt>
                <c:pt idx="4498">
                  <c:v>1.1254536267168911E-3</c:v>
                </c:pt>
                <c:pt idx="4499">
                  <c:v>9.2768791627021883E-4</c:v>
                </c:pt>
                <c:pt idx="4500">
                  <c:v>1.3964085352409417E-3</c:v>
                </c:pt>
                <c:pt idx="4501">
                  <c:v>3.6506457866512247E-3</c:v>
                </c:pt>
                <c:pt idx="4502">
                  <c:v>1.0017556542393887E-2</c:v>
                </c:pt>
                <c:pt idx="4503">
                  <c:v>9.8250407187516417E-3</c:v>
                </c:pt>
                <c:pt idx="4504">
                  <c:v>1.1798656689736191E-2</c:v>
                </c:pt>
                <c:pt idx="4505">
                  <c:v>1.5234375E-2</c:v>
                </c:pt>
                <c:pt idx="4506">
                  <c:v>9.1430767963537503E-3</c:v>
                </c:pt>
                <c:pt idx="4507">
                  <c:v>1.4639705452632809E-2</c:v>
                </c:pt>
                <c:pt idx="4508">
                  <c:v>2.3134671365098822E-2</c:v>
                </c:pt>
                <c:pt idx="4509">
                  <c:v>2.6542301793483363E-2</c:v>
                </c:pt>
                <c:pt idx="4510">
                  <c:v>5.3590958804228941E-2</c:v>
                </c:pt>
                <c:pt idx="4511">
                  <c:v>8.1739130434782606E-2</c:v>
                </c:pt>
                <c:pt idx="4512">
                  <c:v>8.2530590991929179E-2</c:v>
                </c:pt>
                <c:pt idx="4513">
                  <c:v>0.12493760798617778</c:v>
                </c:pt>
                <c:pt idx="4514">
                  <c:v>0.16532068370707229</c:v>
                </c:pt>
                <c:pt idx="4515">
                  <c:v>0.18160729731854997</c:v>
                </c:pt>
                <c:pt idx="4516">
                  <c:v>0.22132853141256503</c:v>
                </c:pt>
                <c:pt idx="4517">
                  <c:v>0.2215185072815534</c:v>
                </c:pt>
                <c:pt idx="4518">
                  <c:v>0.2398397845378267</c:v>
                </c:pt>
                <c:pt idx="4519">
                  <c:v>0.2867375664685643</c:v>
                </c:pt>
                <c:pt idx="4520">
                  <c:v>0.32208353052531946</c:v>
                </c:pt>
                <c:pt idx="4521">
                  <c:v>0.35488954471218581</c:v>
                </c:pt>
                <c:pt idx="4522">
                  <c:v>0.39176921525115999</c:v>
                </c:pt>
                <c:pt idx="4523">
                  <c:v>0.43986314080259797</c:v>
                </c:pt>
                <c:pt idx="4524">
                  <c:v>0.54266504753724487</c:v>
                </c:pt>
                <c:pt idx="4525">
                  <c:v>0.70188233869991534</c:v>
                </c:pt>
                <c:pt idx="4526">
                  <c:v>0.77986961554865042</c:v>
                </c:pt>
                <c:pt idx="4527">
                  <c:v>0.83356685957965271</c:v>
                </c:pt>
                <c:pt idx="4528">
                  <c:v>0.7933686005839331</c:v>
                </c:pt>
                <c:pt idx="4529">
                  <c:v>0.80794148982118696</c:v>
                </c:pt>
                <c:pt idx="4530">
                  <c:v>0.8212120307039813</c:v>
                </c:pt>
                <c:pt idx="4531">
                  <c:v>0.79481797105081775</c:v>
                </c:pt>
                <c:pt idx="4532">
                  <c:v>0.76400169618684144</c:v>
                </c:pt>
                <c:pt idx="4533">
                  <c:v>0.70970517190033433</c:v>
                </c:pt>
                <c:pt idx="4534">
                  <c:v>0.69910028832459103</c:v>
                </c:pt>
                <c:pt idx="4535">
                  <c:v>0.69640890063890737</c:v>
                </c:pt>
                <c:pt idx="4536">
                  <c:v>0.66329064804035698</c:v>
                </c:pt>
                <c:pt idx="4537">
                  <c:v>0.65126789856811462</c:v>
                </c:pt>
                <c:pt idx="4538">
                  <c:v>0.62544657356284505</c:v>
                </c:pt>
                <c:pt idx="4539">
                  <c:v>0.67133917396745935</c:v>
                </c:pt>
                <c:pt idx="4540">
                  <c:v>0.61241385106740631</c:v>
                </c:pt>
                <c:pt idx="4541">
                  <c:v>0.52223787482390827</c:v>
                </c:pt>
                <c:pt idx="4542">
                  <c:v>0.49026379601734149</c:v>
                </c:pt>
                <c:pt idx="4543">
                  <c:v>0.48483125397197047</c:v>
                </c:pt>
                <c:pt idx="4544">
                  <c:v>0.37966785365392491</c:v>
                </c:pt>
                <c:pt idx="4545">
                  <c:v>0.27681481707131328</c:v>
                </c:pt>
                <c:pt idx="4546">
                  <c:v>0.22835856910176752</c:v>
                </c:pt>
                <c:pt idx="4547">
                  <c:v>0.22905962117296522</c:v>
                </c:pt>
                <c:pt idx="4548">
                  <c:v>0.22901348039215685</c:v>
                </c:pt>
                <c:pt idx="4549">
                  <c:v>0.21863609458238575</c:v>
                </c:pt>
                <c:pt idx="4550">
                  <c:v>0.20037187608332549</c:v>
                </c:pt>
                <c:pt idx="4551">
                  <c:v>0.18277277998934269</c:v>
                </c:pt>
                <c:pt idx="4552">
                  <c:v>0.16080106022677074</c:v>
                </c:pt>
                <c:pt idx="4553">
                  <c:v>0.13152497327902476</c:v>
                </c:pt>
                <c:pt idx="4554">
                  <c:v>0.1142661138783667</c:v>
                </c:pt>
                <c:pt idx="4555">
                  <c:v>0.10416666666666666</c:v>
                </c:pt>
                <c:pt idx="4556">
                  <c:v>9.6538695526880353E-2</c:v>
                </c:pt>
                <c:pt idx="4557">
                  <c:v>9.4672833716078542E-2</c:v>
                </c:pt>
                <c:pt idx="4558">
                  <c:v>9.7119147213601389E-2</c:v>
                </c:pt>
                <c:pt idx="4559">
                  <c:v>9.4688138875937022E-2</c:v>
                </c:pt>
                <c:pt idx="4560">
                  <c:v>9.189088191330344E-2</c:v>
                </c:pt>
                <c:pt idx="4561">
                  <c:v>8.8993422059048477E-2</c:v>
                </c:pt>
                <c:pt idx="4562">
                  <c:v>9.9314412654640138E-2</c:v>
                </c:pt>
                <c:pt idx="4563">
                  <c:v>0.1056969789909523</c:v>
                </c:pt>
                <c:pt idx="4564">
                  <c:v>9.5435077058242127E-2</c:v>
                </c:pt>
                <c:pt idx="4565">
                  <c:v>7.1387832699619777E-2</c:v>
                </c:pt>
                <c:pt idx="4566">
                  <c:v>4.5324777726419962E-2</c:v>
                </c:pt>
                <c:pt idx="4567">
                  <c:v>3.1999002369372739E-2</c:v>
                </c:pt>
                <c:pt idx="4568">
                  <c:v>2.7866318941369653E-2</c:v>
                </c:pt>
                <c:pt idx="4569">
                  <c:v>2.0871355702185405E-2</c:v>
                </c:pt>
                <c:pt idx="4570">
                  <c:v>1.9124591781594345E-2</c:v>
                </c:pt>
                <c:pt idx="4571">
                  <c:v>2.3874002280501707E-2</c:v>
                </c:pt>
                <c:pt idx="4572">
                  <c:v>2.2760107050659596E-2</c:v>
                </c:pt>
                <c:pt idx="4573">
                  <c:v>1.8094233811053059E-2</c:v>
                </c:pt>
                <c:pt idx="4574">
                  <c:v>1.4824831592918138E-2</c:v>
                </c:pt>
                <c:pt idx="4575">
                  <c:v>1.5368512419902478E-2</c:v>
                </c:pt>
                <c:pt idx="4576">
                  <c:v>1.5151515151515154E-2</c:v>
                </c:pt>
                <c:pt idx="4577">
                  <c:v>2.1540825938228151E-2</c:v>
                </c:pt>
                <c:pt idx="4578">
                  <c:v>1.8512250371026114E-2</c:v>
                </c:pt>
                <c:pt idx="4579">
                  <c:v>1.6436627061438412E-2</c:v>
                </c:pt>
                <c:pt idx="4580">
                  <c:v>1.7474779409651364E-2</c:v>
                </c:pt>
                <c:pt idx="4581">
                  <c:v>2.2916852198177341E-2</c:v>
                </c:pt>
                <c:pt idx="4582">
                  <c:v>3.8076088344184862E-2</c:v>
                </c:pt>
                <c:pt idx="4583">
                  <c:v>4.8029387530898103E-2</c:v>
                </c:pt>
                <c:pt idx="4584">
                  <c:v>5.5934270952927675E-2</c:v>
                </c:pt>
                <c:pt idx="4585">
                  <c:v>6.0955336362628842E-2</c:v>
                </c:pt>
                <c:pt idx="4586">
                  <c:v>5.2598390148002522E-2</c:v>
                </c:pt>
                <c:pt idx="4587">
                  <c:v>4.9669603524229076E-2</c:v>
                </c:pt>
                <c:pt idx="4588">
                  <c:v>6.0840122738334564E-2</c:v>
                </c:pt>
                <c:pt idx="4589">
                  <c:v>5.1615071967729111E-2</c:v>
                </c:pt>
                <c:pt idx="4590">
                  <c:v>4.7362841240392264E-2</c:v>
                </c:pt>
                <c:pt idx="4591">
                  <c:v>3.8127613783658192E-2</c:v>
                </c:pt>
                <c:pt idx="4592">
                  <c:v>5.3234197211202705E-2</c:v>
                </c:pt>
                <c:pt idx="4593">
                  <c:v>9.6459152973848647E-2</c:v>
                </c:pt>
                <c:pt idx="4594">
                  <c:v>0.13264577913856215</c:v>
                </c:pt>
                <c:pt idx="4595">
                  <c:v>0.18360301542941684</c:v>
                </c:pt>
                <c:pt idx="4596">
                  <c:v>0.23676587394290519</c:v>
                </c:pt>
                <c:pt idx="4597">
                  <c:v>0.30143789613092431</c:v>
                </c:pt>
                <c:pt idx="4598">
                  <c:v>0.38239492075991732</c:v>
                </c:pt>
                <c:pt idx="4599">
                  <c:v>0.42658878737956168</c:v>
                </c:pt>
                <c:pt idx="4600">
                  <c:v>0.40135563888087689</c:v>
                </c:pt>
                <c:pt idx="4601">
                  <c:v>0.37166091670773782</c:v>
                </c:pt>
                <c:pt idx="4602">
                  <c:v>0.36436308717841892</c:v>
                </c:pt>
                <c:pt idx="4603">
                  <c:v>0.37730790491984528</c:v>
                </c:pt>
                <c:pt idx="4604">
                  <c:v>0.40604143694504086</c:v>
                </c:pt>
                <c:pt idx="4605">
                  <c:v>0.41722821873695515</c:v>
                </c:pt>
                <c:pt idx="4606">
                  <c:v>0.41615620214395099</c:v>
                </c:pt>
                <c:pt idx="4607">
                  <c:v>0.43332650553052027</c:v>
                </c:pt>
                <c:pt idx="4608">
                  <c:v>0.41355483154917466</c:v>
                </c:pt>
                <c:pt idx="4609">
                  <c:v>0.38228395514183094</c:v>
                </c:pt>
                <c:pt idx="4610">
                  <c:v>0.34702774596371966</c:v>
                </c:pt>
                <c:pt idx="4611">
                  <c:v>0.33970354489335747</c:v>
                </c:pt>
                <c:pt idx="4612">
                  <c:v>0.29620476610767871</c:v>
                </c:pt>
                <c:pt idx="4613">
                  <c:v>0.25495057080770056</c:v>
                </c:pt>
                <c:pt idx="4614">
                  <c:v>0.24886553618342488</c:v>
                </c:pt>
                <c:pt idx="4615">
                  <c:v>0.26663540329746271</c:v>
                </c:pt>
                <c:pt idx="4616">
                  <c:v>0.29117076558346711</c:v>
                </c:pt>
                <c:pt idx="4617">
                  <c:v>0.33056891304852837</c:v>
                </c:pt>
                <c:pt idx="4618">
                  <c:v>0.3739846805359498</c:v>
                </c:pt>
                <c:pt idx="4619">
                  <c:v>0.41741664121061162</c:v>
                </c:pt>
                <c:pt idx="4620">
                  <c:v>0.43361419485061142</c:v>
                </c:pt>
                <c:pt idx="4621">
                  <c:v>0.47456778347442469</c:v>
                </c:pt>
                <c:pt idx="4622">
                  <c:v>0.52886226954549942</c:v>
                </c:pt>
                <c:pt idx="4623">
                  <c:v>0.55606303955029113</c:v>
                </c:pt>
                <c:pt idx="4624">
                  <c:v>0.57886792452830182</c:v>
                </c:pt>
                <c:pt idx="4625">
                  <c:v>0.63280960039589262</c:v>
                </c:pt>
                <c:pt idx="4626">
                  <c:v>0.67348478934082812</c:v>
                </c:pt>
                <c:pt idx="4627">
                  <c:v>0.72762763588375989</c:v>
                </c:pt>
                <c:pt idx="4628">
                  <c:v>0.79773945804955804</c:v>
                </c:pt>
                <c:pt idx="4629">
                  <c:v>0.89737576441251543</c:v>
                </c:pt>
                <c:pt idx="4630">
                  <c:v>1.0109952427459752</c:v>
                </c:pt>
                <c:pt idx="4631">
                  <c:v>1.0955219836054468</c:v>
                </c:pt>
                <c:pt idx="4632">
                  <c:v>1.1065281164952463</c:v>
                </c:pt>
                <c:pt idx="4633">
                  <c:v>1.0817773918077871</c:v>
                </c:pt>
                <c:pt idx="4634">
                  <c:v>1.0358851674641147</c:v>
                </c:pt>
                <c:pt idx="4635">
                  <c:v>0.99839457073010562</c:v>
                </c:pt>
                <c:pt idx="4636">
                  <c:v>0.94441900602303552</c:v>
                </c:pt>
                <c:pt idx="4637">
                  <c:v>0.7920247820937224</c:v>
                </c:pt>
                <c:pt idx="4638">
                  <c:v>0.72386327671695339</c:v>
                </c:pt>
                <c:pt idx="4639">
                  <c:v>0.73384803921568631</c:v>
                </c:pt>
                <c:pt idx="4640">
                  <c:v>0.71056533384350484</c:v>
                </c:pt>
                <c:pt idx="4641">
                  <c:v>0.68317848639058776</c:v>
                </c:pt>
                <c:pt idx="4642">
                  <c:v>0.64379824172749101</c:v>
                </c:pt>
                <c:pt idx="4643">
                  <c:v>0.63914336704342656</c:v>
                </c:pt>
                <c:pt idx="4644">
                  <c:v>0.62683797287651677</c:v>
                </c:pt>
                <c:pt idx="4645">
                  <c:v>0.63543990687748564</c:v>
                </c:pt>
                <c:pt idx="4646">
                  <c:v>0.65755501098956637</c:v>
                </c:pt>
                <c:pt idx="4647">
                  <c:v>0.66403529138611561</c:v>
                </c:pt>
                <c:pt idx="4648">
                  <c:v>0.61991365621278294</c:v>
                </c:pt>
                <c:pt idx="4649">
                  <c:v>0.58564849956985987</c:v>
                </c:pt>
                <c:pt idx="4650">
                  <c:v>0.55179580091655123</c:v>
                </c:pt>
                <c:pt idx="4651">
                  <c:v>0.4858952702702703</c:v>
                </c:pt>
                <c:pt idx="4652">
                  <c:v>0.40128425164230336</c:v>
                </c:pt>
                <c:pt idx="4653">
                  <c:v>0.37034788416003889</c:v>
                </c:pt>
                <c:pt idx="4654">
                  <c:v>0.39077301089521843</c:v>
                </c:pt>
                <c:pt idx="4655">
                  <c:v>0.39878838520994364</c:v>
                </c:pt>
                <c:pt idx="4656">
                  <c:v>0.37907400656215823</c:v>
                </c:pt>
                <c:pt idx="4657">
                  <c:v>0.35615312791783382</c:v>
                </c:pt>
                <c:pt idx="4658">
                  <c:v>0.32529349789283563</c:v>
                </c:pt>
                <c:pt idx="4659">
                  <c:v>0.26723359422034915</c:v>
                </c:pt>
                <c:pt idx="4660">
                  <c:v>0.24296499656829096</c:v>
                </c:pt>
                <c:pt idx="4661">
                  <c:v>0.2096064338409904</c:v>
                </c:pt>
                <c:pt idx="4662">
                  <c:v>0.16684512533289403</c:v>
                </c:pt>
                <c:pt idx="4663">
                  <c:v>0.15814213481718631</c:v>
                </c:pt>
                <c:pt idx="4664">
                  <c:v>0.16447417133548881</c:v>
                </c:pt>
                <c:pt idx="4665">
                  <c:v>0.18083953471569975</c:v>
                </c:pt>
                <c:pt idx="4666">
                  <c:v>0.17649623368130404</c:v>
                </c:pt>
                <c:pt idx="4667">
                  <c:v>0.16133195010247717</c:v>
                </c:pt>
                <c:pt idx="4668">
                  <c:v>0.1436104218362283</c:v>
                </c:pt>
                <c:pt idx="4669">
                  <c:v>0.16456743342050489</c:v>
                </c:pt>
                <c:pt idx="4670">
                  <c:v>0.13947623666343356</c:v>
                </c:pt>
                <c:pt idx="4671">
                  <c:v>0.11075641915336572</c:v>
                </c:pt>
                <c:pt idx="4672">
                  <c:v>0.1023609443777511</c:v>
                </c:pt>
                <c:pt idx="4673">
                  <c:v>8.9196525515743766E-2</c:v>
                </c:pt>
                <c:pt idx="4674">
                  <c:v>4.1823673234575004E-2</c:v>
                </c:pt>
                <c:pt idx="4675">
                  <c:v>2.3236716445147364E-2</c:v>
                </c:pt>
                <c:pt idx="4676">
                  <c:v>1.533820260400127E-2</c:v>
                </c:pt>
                <c:pt idx="4677">
                  <c:v>1.3011393060590369E-2</c:v>
                </c:pt>
                <c:pt idx="4678">
                  <c:v>1.1744680851063829E-2</c:v>
                </c:pt>
                <c:pt idx="4679">
                  <c:v>1.243119098829791E-2</c:v>
                </c:pt>
                <c:pt idx="4680">
                  <c:v>1.3365265760197774E-2</c:v>
                </c:pt>
                <c:pt idx="4681">
                  <c:v>8.1574466400031673E-3</c:v>
                </c:pt>
                <c:pt idx="4682">
                  <c:v>8.1172764720135702E-3</c:v>
                </c:pt>
                <c:pt idx="4683">
                  <c:v>9.2756730016077833E-3</c:v>
                </c:pt>
                <c:pt idx="4684">
                  <c:v>1.1902780089895123E-2</c:v>
                </c:pt>
                <c:pt idx="4685">
                  <c:v>1.0431954305660228E-2</c:v>
                </c:pt>
                <c:pt idx="4686">
                  <c:v>6.0247522955757995E-3</c:v>
                </c:pt>
                <c:pt idx="4687">
                  <c:v>3.4694686756542429E-3</c:v>
                </c:pt>
                <c:pt idx="4688">
                  <c:v>6.0602293563725646E-3</c:v>
                </c:pt>
                <c:pt idx="4689">
                  <c:v>1.5805379268661227E-2</c:v>
                </c:pt>
                <c:pt idx="4690">
                  <c:v>3.2029772436092979E-2</c:v>
                </c:pt>
                <c:pt idx="4691">
                  <c:v>6.0089934704940243E-2</c:v>
                </c:pt>
                <c:pt idx="4692">
                  <c:v>8.7393585273144211E-2</c:v>
                </c:pt>
                <c:pt idx="4693">
                  <c:v>0.12967222541690626</c:v>
                </c:pt>
                <c:pt idx="4694">
                  <c:v>0.18499673842139597</c:v>
                </c:pt>
                <c:pt idx="4695">
                  <c:v>0.20769280246992991</c:v>
                </c:pt>
                <c:pt idx="4696">
                  <c:v>0.1933416360377874</c:v>
                </c:pt>
                <c:pt idx="4697">
                  <c:v>0.18197970307465297</c:v>
                </c:pt>
                <c:pt idx="4698">
                  <c:v>0.16971897694979476</c:v>
                </c:pt>
                <c:pt idx="4699">
                  <c:v>0.14880913109454377</c:v>
                </c:pt>
                <c:pt idx="4700">
                  <c:v>0.14179053593345153</c:v>
                </c:pt>
                <c:pt idx="4701">
                  <c:v>0.15699235695104319</c:v>
                </c:pt>
                <c:pt idx="4702">
                  <c:v>0.21642716463637024</c:v>
                </c:pt>
                <c:pt idx="4703">
                  <c:v>0.29347741281111034</c:v>
                </c:pt>
                <c:pt idx="4704">
                  <c:v>0.3613126783530371</c:v>
                </c:pt>
                <c:pt idx="4705">
                  <c:v>0.41948601853016387</c:v>
                </c:pt>
                <c:pt idx="4706">
                  <c:v>0.5118096928212279</c:v>
                </c:pt>
                <c:pt idx="4707">
                  <c:v>0.66110183639399001</c:v>
                </c:pt>
                <c:pt idx="4708">
                  <c:v>0.76193069929190937</c:v>
                </c:pt>
                <c:pt idx="4709">
                  <c:v>0.84813389917899495</c:v>
                </c:pt>
                <c:pt idx="4710">
                  <c:v>0.86884644991019389</c:v>
                </c:pt>
                <c:pt idx="4711">
                  <c:v>0.84054762796716953</c:v>
                </c:pt>
                <c:pt idx="4712">
                  <c:v>0.72021666401147044</c:v>
                </c:pt>
                <c:pt idx="4713">
                  <c:v>0.62704730533443143</c:v>
                </c:pt>
                <c:pt idx="4714">
                  <c:v>0.64926629781092127</c:v>
                </c:pt>
                <c:pt idx="4715">
                  <c:v>0.69804644973992991</c:v>
                </c:pt>
                <c:pt idx="4716">
                  <c:v>0.76470588235294135</c:v>
                </c:pt>
                <c:pt idx="4717">
                  <c:v>0.76864484551850709</c:v>
                </c:pt>
                <c:pt idx="4718">
                  <c:v>0.83608391608391608</c:v>
                </c:pt>
                <c:pt idx="4719">
                  <c:v>0.83606557377049195</c:v>
                </c:pt>
                <c:pt idx="4720">
                  <c:v>0.76493000432962921</c:v>
                </c:pt>
                <c:pt idx="4721">
                  <c:v>0.73545832621204343</c:v>
                </c:pt>
                <c:pt idx="4722">
                  <c:v>0.7281989811207672</c:v>
                </c:pt>
                <c:pt idx="4723">
                  <c:v>0.70604473164151949</c:v>
                </c:pt>
                <c:pt idx="4724">
                  <c:v>0.62980152068727169</c:v>
                </c:pt>
                <c:pt idx="4725">
                  <c:v>0.5881781647689216</c:v>
                </c:pt>
                <c:pt idx="4726">
                  <c:v>0.62031155743231259</c:v>
                </c:pt>
                <c:pt idx="4727">
                  <c:v>0.69716208980341154</c:v>
                </c:pt>
                <c:pt idx="4728">
                  <c:v>0.70349263209313695</c:v>
                </c:pt>
                <c:pt idx="4729">
                  <c:v>0.65745833505644924</c:v>
                </c:pt>
                <c:pt idx="4730">
                  <c:v>0.58813270771913784</c:v>
                </c:pt>
                <c:pt idx="4731">
                  <c:v>0.60749279538904899</c:v>
                </c:pt>
                <c:pt idx="4732">
                  <c:v>0.62280839688654765</c:v>
                </c:pt>
                <c:pt idx="4733">
                  <c:v>0.56330287834031734</c:v>
                </c:pt>
                <c:pt idx="4734">
                  <c:v>0.53218538303142437</c:v>
                </c:pt>
                <c:pt idx="4735">
                  <c:v>0.56374339129012918</c:v>
                </c:pt>
                <c:pt idx="4736">
                  <c:v>0.58110195000654363</c:v>
                </c:pt>
                <c:pt idx="4737">
                  <c:v>0.57486535921146231</c:v>
                </c:pt>
                <c:pt idx="4738">
                  <c:v>0.60396241830065356</c:v>
                </c:pt>
                <c:pt idx="4739">
                  <c:v>0.61132143968468</c:v>
                </c:pt>
                <c:pt idx="4740">
                  <c:v>0.63952005413706037</c:v>
                </c:pt>
                <c:pt idx="4741">
                  <c:v>0.68720278981295579</c:v>
                </c:pt>
                <c:pt idx="4742">
                  <c:v>0.71594969857333801</c:v>
                </c:pt>
                <c:pt idx="4743">
                  <c:v>0.76021437056272267</c:v>
                </c:pt>
                <c:pt idx="4744">
                  <c:v>0.72076504169845568</c:v>
                </c:pt>
                <c:pt idx="4745">
                  <c:v>0.72824043426453056</c:v>
                </c:pt>
                <c:pt idx="4746">
                  <c:v>0.72843378893121236</c:v>
                </c:pt>
                <c:pt idx="4747">
                  <c:v>0.66323298700529842</c:v>
                </c:pt>
                <c:pt idx="4748">
                  <c:v>0.58848340936074484</c:v>
                </c:pt>
                <c:pt idx="4749">
                  <c:v>0.57491445201317604</c:v>
                </c:pt>
                <c:pt idx="4750">
                  <c:v>0.63665173957974508</c:v>
                </c:pt>
                <c:pt idx="4751">
                  <c:v>0.67916326075648359</c:v>
                </c:pt>
                <c:pt idx="4752">
                  <c:v>0.71761718749999992</c:v>
                </c:pt>
                <c:pt idx="4753">
                  <c:v>0.69868943128531924</c:v>
                </c:pt>
                <c:pt idx="4754">
                  <c:v>0.65132530120481935</c:v>
                </c:pt>
                <c:pt idx="4755">
                  <c:v>0.62647246099968146</c:v>
                </c:pt>
                <c:pt idx="4756">
                  <c:v>0.56599140577041129</c:v>
                </c:pt>
                <c:pt idx="4757">
                  <c:v>0.44560040533693634</c:v>
                </c:pt>
                <c:pt idx="4758">
                  <c:v>0.34588304610399179</c:v>
                </c:pt>
                <c:pt idx="4759">
                  <c:v>0.31186937181295432</c:v>
                </c:pt>
                <c:pt idx="4760">
                  <c:v>0.31412790241093164</c:v>
                </c:pt>
                <c:pt idx="4761">
                  <c:v>0.32995001530143836</c:v>
                </c:pt>
                <c:pt idx="4762">
                  <c:v>0.32523699718165516</c:v>
                </c:pt>
                <c:pt idx="4763">
                  <c:v>0.33591991929851789</c:v>
                </c:pt>
                <c:pt idx="4764">
                  <c:v>0.33438845934305433</c:v>
                </c:pt>
                <c:pt idx="4765">
                  <c:v>0.34632660029944051</c:v>
                </c:pt>
                <c:pt idx="4766">
                  <c:v>0.33529283692575662</c:v>
                </c:pt>
                <c:pt idx="4767">
                  <c:v>0.32229629221530498</c:v>
                </c:pt>
                <c:pt idx="4768">
                  <c:v>0.27095708691830261</c:v>
                </c:pt>
                <c:pt idx="4769">
                  <c:v>0.23334404455869751</c:v>
                </c:pt>
                <c:pt idx="4770">
                  <c:v>0.18768962804809528</c:v>
                </c:pt>
                <c:pt idx="4771">
                  <c:v>0.14669825288717797</c:v>
                </c:pt>
                <c:pt idx="4772">
                  <c:v>0.11234705228031146</c:v>
                </c:pt>
                <c:pt idx="4773">
                  <c:v>9.49823635959198E-2</c:v>
                </c:pt>
                <c:pt idx="4774">
                  <c:v>8.1417690249090777E-2</c:v>
                </c:pt>
                <c:pt idx="4775">
                  <c:v>6.7011070110701121E-2</c:v>
                </c:pt>
                <c:pt idx="4776">
                  <c:v>4.7960052643802743E-2</c:v>
                </c:pt>
                <c:pt idx="4777">
                  <c:v>3.862047043865225E-2</c:v>
                </c:pt>
                <c:pt idx="4778">
                  <c:v>3.1108642171256248E-2</c:v>
                </c:pt>
                <c:pt idx="4779">
                  <c:v>3.0221836951810556E-2</c:v>
                </c:pt>
                <c:pt idx="4780">
                  <c:v>3.4259436673692273E-2</c:v>
                </c:pt>
                <c:pt idx="4781">
                  <c:v>2.5166467474816458E-2</c:v>
                </c:pt>
                <c:pt idx="4782">
                  <c:v>1.8250134192163179E-2</c:v>
                </c:pt>
                <c:pt idx="4783">
                  <c:v>1.9317591047144773E-2</c:v>
                </c:pt>
                <c:pt idx="4784">
                  <c:v>2.4070890093902921E-2</c:v>
                </c:pt>
                <c:pt idx="4785">
                  <c:v>3.3634317352720496E-2</c:v>
                </c:pt>
                <c:pt idx="4786">
                  <c:v>5.117232078016392E-2</c:v>
                </c:pt>
                <c:pt idx="4787">
                  <c:v>7.7583256548637611E-2</c:v>
                </c:pt>
                <c:pt idx="4788">
                  <c:v>0.12110937458610367</c:v>
                </c:pt>
                <c:pt idx="4789">
                  <c:v>0.1648718500969201</c:v>
                </c:pt>
                <c:pt idx="4790">
                  <c:v>0.20125698712422482</c:v>
                </c:pt>
                <c:pt idx="4791">
                  <c:v>0.24996484913247655</c:v>
                </c:pt>
                <c:pt idx="4792">
                  <c:v>0.28544025072271906</c:v>
                </c:pt>
                <c:pt idx="4793">
                  <c:v>0.3377524739053816</c:v>
                </c:pt>
                <c:pt idx="4794">
                  <c:v>0.40734661534978495</c:v>
                </c:pt>
                <c:pt idx="4795">
                  <c:v>0.46699694443620399</c:v>
                </c:pt>
                <c:pt idx="4796">
                  <c:v>0.50520404114397333</c:v>
                </c:pt>
                <c:pt idx="4797">
                  <c:v>0.49408647932633182</c:v>
                </c:pt>
                <c:pt idx="4798">
                  <c:v>0.50782715459909278</c:v>
                </c:pt>
                <c:pt idx="4799">
                  <c:v>0.54154834852787326</c:v>
                </c:pt>
                <c:pt idx="4800">
                  <c:v>0.54654713435640456</c:v>
                </c:pt>
                <c:pt idx="4801">
                  <c:v>0.55550667839718459</c:v>
                </c:pt>
                <c:pt idx="4802">
                  <c:v>0.57062124248496993</c:v>
                </c:pt>
                <c:pt idx="4803">
                  <c:v>0.61444391332058634</c:v>
                </c:pt>
                <c:pt idx="4804">
                  <c:v>0.59842398616182968</c:v>
                </c:pt>
                <c:pt idx="4805">
                  <c:v>0.51986112529357709</c:v>
                </c:pt>
                <c:pt idx="4806">
                  <c:v>0.41059385258131897</c:v>
                </c:pt>
                <c:pt idx="4807">
                  <c:v>0.34067017082785805</c:v>
                </c:pt>
                <c:pt idx="4808">
                  <c:v>0.33831809967786708</c:v>
                </c:pt>
                <c:pt idx="4809">
                  <c:v>0.3338088081713747</c:v>
                </c:pt>
                <c:pt idx="4810">
                  <c:v>0.31734448245280628</c:v>
                </c:pt>
                <c:pt idx="4811">
                  <c:v>0.33280258866432111</c:v>
                </c:pt>
                <c:pt idx="4812">
                  <c:v>0.37335748730640672</c:v>
                </c:pt>
                <c:pt idx="4813">
                  <c:v>0.41031227305737111</c:v>
                </c:pt>
                <c:pt idx="4814">
                  <c:v>0.42836330887611579</c:v>
                </c:pt>
                <c:pt idx="4815">
                  <c:v>0.42104143396627841</c:v>
                </c:pt>
                <c:pt idx="4816">
                  <c:v>0.3336332090990875</c:v>
                </c:pt>
                <c:pt idx="4817">
                  <c:v>0.26317422557790771</c:v>
                </c:pt>
                <c:pt idx="4818">
                  <c:v>0.26408402673577958</c:v>
                </c:pt>
                <c:pt idx="4819">
                  <c:v>0.2729181044398436</c:v>
                </c:pt>
                <c:pt idx="4820">
                  <c:v>0.26461822733504203</c:v>
                </c:pt>
                <c:pt idx="4821">
                  <c:v>0.27611242677302755</c:v>
                </c:pt>
                <c:pt idx="4822">
                  <c:v>0.28435120960920318</c:v>
                </c:pt>
                <c:pt idx="4823">
                  <c:v>0.28223924142961343</c:v>
                </c:pt>
                <c:pt idx="4824">
                  <c:v>0.31556732281953881</c:v>
                </c:pt>
                <c:pt idx="4825">
                  <c:v>0.33671662929304852</c:v>
                </c:pt>
                <c:pt idx="4826">
                  <c:v>0.29906393780739332</c:v>
                </c:pt>
                <c:pt idx="4827">
                  <c:v>0.34149675806577612</c:v>
                </c:pt>
                <c:pt idx="4828">
                  <c:v>0.31803946723012488</c:v>
                </c:pt>
                <c:pt idx="4829">
                  <c:v>0.23594404649276926</c:v>
                </c:pt>
                <c:pt idx="4830">
                  <c:v>0.21234210836973205</c:v>
                </c:pt>
                <c:pt idx="4831">
                  <c:v>0.21274467394830757</c:v>
                </c:pt>
                <c:pt idx="4832">
                  <c:v>0.19300561725039475</c:v>
                </c:pt>
                <c:pt idx="4833">
                  <c:v>0.1675364949701233</c:v>
                </c:pt>
                <c:pt idx="4834">
                  <c:v>0.15861054020451143</c:v>
                </c:pt>
                <c:pt idx="4835">
                  <c:v>0.12286275117516401</c:v>
                </c:pt>
                <c:pt idx="4836">
                  <c:v>0.11733997901364114</c:v>
                </c:pt>
                <c:pt idx="4837">
                  <c:v>0.14426984557030614</c:v>
                </c:pt>
                <c:pt idx="4838">
                  <c:v>0.17885102787947058</c:v>
                </c:pt>
                <c:pt idx="4839">
                  <c:v>0.17955020624964682</c:v>
                </c:pt>
                <c:pt idx="4840">
                  <c:v>0.16419037346636106</c:v>
                </c:pt>
                <c:pt idx="4841">
                  <c:v>0.15811942571242113</c:v>
                </c:pt>
                <c:pt idx="4842">
                  <c:v>0.15145911586246752</c:v>
                </c:pt>
                <c:pt idx="4843">
                  <c:v>0.14175423547072699</c:v>
                </c:pt>
                <c:pt idx="4844">
                  <c:v>0.14295291300877894</c:v>
                </c:pt>
                <c:pt idx="4845">
                  <c:v>0.15990976263650034</c:v>
                </c:pt>
                <c:pt idx="4846">
                  <c:v>0.18331692913385825</c:v>
                </c:pt>
                <c:pt idx="4847">
                  <c:v>0.22665602553870712</c:v>
                </c:pt>
                <c:pt idx="4848">
                  <c:v>0.25759208268486378</c:v>
                </c:pt>
                <c:pt idx="4849">
                  <c:v>0.2753185503888797</c:v>
                </c:pt>
                <c:pt idx="4850">
                  <c:v>0.29661229611041406</c:v>
                </c:pt>
                <c:pt idx="4851">
                  <c:v>0.31832350463352993</c:v>
                </c:pt>
                <c:pt idx="4852">
                  <c:v>0.29092920353982299</c:v>
                </c:pt>
                <c:pt idx="4853">
                  <c:v>0.26980118646785312</c:v>
                </c:pt>
                <c:pt idx="4854">
                  <c:v>0.28291553333823422</c:v>
                </c:pt>
                <c:pt idx="4855">
                  <c:v>0.28992185934682424</c:v>
                </c:pt>
                <c:pt idx="4856">
                  <c:v>0.30342833799453223</c:v>
                </c:pt>
                <c:pt idx="4857">
                  <c:v>0.33621079955328848</c:v>
                </c:pt>
                <c:pt idx="4858">
                  <c:v>0.38535453943008613</c:v>
                </c:pt>
                <c:pt idx="4859">
                  <c:v>0.44999692288756232</c:v>
                </c:pt>
                <c:pt idx="4860">
                  <c:v>0.50259421505576785</c:v>
                </c:pt>
                <c:pt idx="4861">
                  <c:v>0.51332768201940282</c:v>
                </c:pt>
                <c:pt idx="4862">
                  <c:v>0.52588651352470772</c:v>
                </c:pt>
                <c:pt idx="4863">
                  <c:v>0.51210334880220743</c:v>
                </c:pt>
                <c:pt idx="4864">
                  <c:v>0.46680430614953539</c:v>
                </c:pt>
                <c:pt idx="4865">
                  <c:v>0.39992344835708399</c:v>
                </c:pt>
                <c:pt idx="4866">
                  <c:v>0.34540114391714333</c:v>
                </c:pt>
                <c:pt idx="4867">
                  <c:v>0.33180711154408182</c:v>
                </c:pt>
                <c:pt idx="4868">
                  <c:v>0.35526315789473678</c:v>
                </c:pt>
                <c:pt idx="4869">
                  <c:v>0.38943690916563917</c:v>
                </c:pt>
                <c:pt idx="4870">
                  <c:v>0.48660224028113325</c:v>
                </c:pt>
                <c:pt idx="4871">
                  <c:v>0.55347121384561049</c:v>
                </c:pt>
                <c:pt idx="4872">
                  <c:v>0.62348415154302916</c:v>
                </c:pt>
                <c:pt idx="4873">
                  <c:v>0.64270622224138674</c:v>
                </c:pt>
                <c:pt idx="4874">
                  <c:v>0.6532454009024643</c:v>
                </c:pt>
                <c:pt idx="4875">
                  <c:v>0.68751088660512105</c:v>
                </c:pt>
                <c:pt idx="4876">
                  <c:v>0.71277159512453636</c:v>
                </c:pt>
                <c:pt idx="4877">
                  <c:v>0.69933618028835998</c:v>
                </c:pt>
                <c:pt idx="4878">
                  <c:v>0.68482066443631839</c:v>
                </c:pt>
                <c:pt idx="4879">
                  <c:v>0.67110829103214886</c:v>
                </c:pt>
                <c:pt idx="4880">
                  <c:v>0.66044484911550472</c:v>
                </c:pt>
                <c:pt idx="4881">
                  <c:v>0.64892658526734392</c:v>
                </c:pt>
                <c:pt idx="4882">
                  <c:v>0.60668900359201905</c:v>
                </c:pt>
                <c:pt idx="4883">
                  <c:v>0.55808593868453782</c:v>
                </c:pt>
                <c:pt idx="4884">
                  <c:v>0.49463774297727137</c:v>
                </c:pt>
                <c:pt idx="4885">
                  <c:v>0.48496240601503759</c:v>
                </c:pt>
                <c:pt idx="4886">
                  <c:v>0.50985388015717092</c:v>
                </c:pt>
                <c:pt idx="4887">
                  <c:v>0.52976675417157004</c:v>
                </c:pt>
                <c:pt idx="4888">
                  <c:v>0.45818941504178273</c:v>
                </c:pt>
                <c:pt idx="4889">
                  <c:v>0.41710111795701027</c:v>
                </c:pt>
                <c:pt idx="4890">
                  <c:v>0.36733331398217761</c:v>
                </c:pt>
                <c:pt idx="4891">
                  <c:v>0.31197533502243663</c:v>
                </c:pt>
                <c:pt idx="4892">
                  <c:v>0.27929476163197764</c:v>
                </c:pt>
                <c:pt idx="4893">
                  <c:v>0.24534212695795549</c:v>
                </c:pt>
                <c:pt idx="4894">
                  <c:v>0.22417355371900827</c:v>
                </c:pt>
                <c:pt idx="4895">
                  <c:v>0.21251008568025515</c:v>
                </c:pt>
                <c:pt idx="4896">
                  <c:v>0.18908106360623941</c:v>
                </c:pt>
                <c:pt idx="4897">
                  <c:v>0.16141553454185076</c:v>
                </c:pt>
                <c:pt idx="4898">
                  <c:v>0.1101986645099747</c:v>
                </c:pt>
                <c:pt idx="4899">
                  <c:v>5.9583691162638522E-2</c:v>
                </c:pt>
                <c:pt idx="4900">
                  <c:v>5.1159834763266597E-2</c:v>
                </c:pt>
                <c:pt idx="4901">
                  <c:v>4.2536763415575753E-2</c:v>
                </c:pt>
                <c:pt idx="4902">
                  <c:v>3.7340730354203502E-2</c:v>
                </c:pt>
                <c:pt idx="4903">
                  <c:v>4.7842505692230801E-2</c:v>
                </c:pt>
                <c:pt idx="4904">
                  <c:v>4.4152618506579297E-2</c:v>
                </c:pt>
                <c:pt idx="4905">
                  <c:v>5.4003099173553719E-2</c:v>
                </c:pt>
                <c:pt idx="4906">
                  <c:v>5.9099388537672291E-2</c:v>
                </c:pt>
                <c:pt idx="4907">
                  <c:v>6.1285931200586424E-2</c:v>
                </c:pt>
                <c:pt idx="4908">
                  <c:v>7.0282819755170964E-2</c:v>
                </c:pt>
                <c:pt idx="4909">
                  <c:v>8.0105373511464739E-2</c:v>
                </c:pt>
                <c:pt idx="4910">
                  <c:v>0.10270839686191888</c:v>
                </c:pt>
                <c:pt idx="4911">
                  <c:v>0.1319748512405973</c:v>
                </c:pt>
                <c:pt idx="4912">
                  <c:v>0.1677854129633069</c:v>
                </c:pt>
                <c:pt idx="4913">
                  <c:v>0.15832051350061005</c:v>
                </c:pt>
                <c:pt idx="4914">
                  <c:v>0.15416025730667041</c:v>
                </c:pt>
                <c:pt idx="4915">
                  <c:v>0.19779271775345073</c:v>
                </c:pt>
                <c:pt idx="4916">
                  <c:v>0.17748650732459523</c:v>
                </c:pt>
                <c:pt idx="4917">
                  <c:v>0.16317466447813073</c:v>
                </c:pt>
                <c:pt idx="4918">
                  <c:v>0.18467253039913095</c:v>
                </c:pt>
                <c:pt idx="4919">
                  <c:v>0.19838270858524792</c:v>
                </c:pt>
                <c:pt idx="4920">
                  <c:v>0.20571178900540193</c:v>
                </c:pt>
                <c:pt idx="4921">
                  <c:v>0.23234087493399405</c:v>
                </c:pt>
                <c:pt idx="4922">
                  <c:v>0.24825446082234287</c:v>
                </c:pt>
                <c:pt idx="4923">
                  <c:v>0.30419098573281456</c:v>
                </c:pt>
                <c:pt idx="4924">
                  <c:v>0.36327119569456362</c:v>
                </c:pt>
                <c:pt idx="4925">
                  <c:v>0.34030654515327252</c:v>
                </c:pt>
                <c:pt idx="4926">
                  <c:v>0.33010233172283404</c:v>
                </c:pt>
                <c:pt idx="4927">
                  <c:v>0.29325480914770069</c:v>
                </c:pt>
                <c:pt idx="4928">
                  <c:v>0.30045738920140896</c:v>
                </c:pt>
                <c:pt idx="4929">
                  <c:v>0.36739709195166909</c:v>
                </c:pt>
                <c:pt idx="4930">
                  <c:v>0.41444041477243709</c:v>
                </c:pt>
                <c:pt idx="4931">
                  <c:v>0.43647010052855217</c:v>
                </c:pt>
                <c:pt idx="4932">
                  <c:v>0.46796838437938743</c:v>
                </c:pt>
                <c:pt idx="4933">
                  <c:v>0.4612243822770139</c:v>
                </c:pt>
                <c:pt idx="4934">
                  <c:v>0.42216064977046147</c:v>
                </c:pt>
                <c:pt idx="4935">
                  <c:v>0.34624976021484744</c:v>
                </c:pt>
                <c:pt idx="4936">
                  <c:v>0.25939533907201345</c:v>
                </c:pt>
                <c:pt idx="4937">
                  <c:v>0.19072301264082087</c:v>
                </c:pt>
                <c:pt idx="4938">
                  <c:v>0.19813904101933605</c:v>
                </c:pt>
                <c:pt idx="4939">
                  <c:v>0.21651229070181688</c:v>
                </c:pt>
                <c:pt idx="4940">
                  <c:v>0.23267143561914161</c:v>
                </c:pt>
                <c:pt idx="4941">
                  <c:v>0.27376633383632454</c:v>
                </c:pt>
                <c:pt idx="4942">
                  <c:v>0.29588888502106037</c:v>
                </c:pt>
                <c:pt idx="4943">
                  <c:v>0.305932782034747</c:v>
                </c:pt>
                <c:pt idx="4944">
                  <c:v>0.30822772078052701</c:v>
                </c:pt>
                <c:pt idx="4945">
                  <c:v>0.26354608760146692</c:v>
                </c:pt>
                <c:pt idx="4946">
                  <c:v>0.25914306942953852</c:v>
                </c:pt>
                <c:pt idx="4947">
                  <c:v>0.23992314610416157</c:v>
                </c:pt>
                <c:pt idx="4948">
                  <c:v>0.20552642989475348</c:v>
                </c:pt>
                <c:pt idx="4949">
                  <c:v>0.15090550226808408</c:v>
                </c:pt>
                <c:pt idx="4950">
                  <c:v>0.10766730861819934</c:v>
                </c:pt>
                <c:pt idx="4951">
                  <c:v>6.7855672931815061E-2</c:v>
                </c:pt>
                <c:pt idx="4952">
                  <c:v>4.958350906790384E-2</c:v>
                </c:pt>
                <c:pt idx="4953">
                  <c:v>4.3302212823025737E-2</c:v>
                </c:pt>
                <c:pt idx="4954">
                  <c:v>3.8453586934050037E-2</c:v>
                </c:pt>
                <c:pt idx="4955">
                  <c:v>4.0338202188367096E-2</c:v>
                </c:pt>
                <c:pt idx="4956">
                  <c:v>4.3337425877066953E-2</c:v>
                </c:pt>
                <c:pt idx="4957">
                  <c:v>4.6261157731573035E-2</c:v>
                </c:pt>
                <c:pt idx="4958">
                  <c:v>5.5009769118577842E-2</c:v>
                </c:pt>
                <c:pt idx="4959">
                  <c:v>5.0678126918568954E-2</c:v>
                </c:pt>
                <c:pt idx="4960">
                  <c:v>4.5398377478106704E-2</c:v>
                </c:pt>
                <c:pt idx="4961">
                  <c:v>3.3289781697425011E-2</c:v>
                </c:pt>
                <c:pt idx="4962">
                  <c:v>2.376124518063687E-2</c:v>
                </c:pt>
                <c:pt idx="4963">
                  <c:v>1.9926554692673532E-2</c:v>
                </c:pt>
                <c:pt idx="4964">
                  <c:v>3.1101444772409507E-2</c:v>
                </c:pt>
                <c:pt idx="4965">
                  <c:v>4.3784007382187289E-2</c:v>
                </c:pt>
                <c:pt idx="4966">
                  <c:v>6.2952742324939637E-2</c:v>
                </c:pt>
                <c:pt idx="4967">
                  <c:v>9.0566600768398661E-2</c:v>
                </c:pt>
                <c:pt idx="4968">
                  <c:v>0.12033508019691914</c:v>
                </c:pt>
                <c:pt idx="4969">
                  <c:v>0.16791348186697025</c:v>
                </c:pt>
                <c:pt idx="4970">
                  <c:v>0.19923026531280708</c:v>
                </c:pt>
                <c:pt idx="4971">
                  <c:v>0.24285656549327081</c:v>
                </c:pt>
                <c:pt idx="4972">
                  <c:v>0.27439000354763687</c:v>
                </c:pt>
                <c:pt idx="4973">
                  <c:v>0.28664686377452336</c:v>
                </c:pt>
                <c:pt idx="4974">
                  <c:v>0.26731666467280774</c:v>
                </c:pt>
                <c:pt idx="4975">
                  <c:v>0.22692297160382269</c:v>
                </c:pt>
                <c:pt idx="4976">
                  <c:v>0.23796166432912574</c:v>
                </c:pt>
                <c:pt idx="4977">
                  <c:v>0.26104164565896948</c:v>
                </c:pt>
                <c:pt idx="4978">
                  <c:v>0.31920804081014192</c:v>
                </c:pt>
                <c:pt idx="4979">
                  <c:v>0.35354282507779428</c:v>
                </c:pt>
                <c:pt idx="4980">
                  <c:v>0.34153782512022335</c:v>
                </c:pt>
                <c:pt idx="4981">
                  <c:v>0.30340079063800818</c:v>
                </c:pt>
                <c:pt idx="4982">
                  <c:v>0.29443687010452585</c:v>
                </c:pt>
                <c:pt idx="4983">
                  <c:v>0.2763075584083553</c:v>
                </c:pt>
                <c:pt idx="4984">
                  <c:v>0.24198357482868652</c:v>
                </c:pt>
                <c:pt idx="4985">
                  <c:v>0.21932788760875929</c:v>
                </c:pt>
                <c:pt idx="4986">
                  <c:v>0.22992475292003592</c:v>
                </c:pt>
                <c:pt idx="4987">
                  <c:v>0.17175663584849388</c:v>
                </c:pt>
                <c:pt idx="4988">
                  <c:v>0.16761680505638865</c:v>
                </c:pt>
                <c:pt idx="4989">
                  <c:v>0.18594525372178644</c:v>
                </c:pt>
                <c:pt idx="4990">
                  <c:v>0.18793858125477661</c:v>
                </c:pt>
                <c:pt idx="4991">
                  <c:v>0.18318127430451692</c:v>
                </c:pt>
                <c:pt idx="4992">
                  <c:v>0.19060676093854048</c:v>
                </c:pt>
                <c:pt idx="4993">
                  <c:v>0.19219484747397614</c:v>
                </c:pt>
                <c:pt idx="4994">
                  <c:v>0.18032854209445587</c:v>
                </c:pt>
                <c:pt idx="4995">
                  <c:v>0.17705492000162845</c:v>
                </c:pt>
                <c:pt idx="4996">
                  <c:v>0.19390603499115394</c:v>
                </c:pt>
                <c:pt idx="4997">
                  <c:v>0.17997918112421932</c:v>
                </c:pt>
                <c:pt idx="4998">
                  <c:v>0.14188267394270124</c:v>
                </c:pt>
                <c:pt idx="4999">
                  <c:v>0.15407452623401124</c:v>
                </c:pt>
                <c:pt idx="5000">
                  <c:v>0.20292349654423641</c:v>
                </c:pt>
                <c:pt idx="5001">
                  <c:v>0.2404143475572047</c:v>
                </c:pt>
                <c:pt idx="5002">
                  <c:v>0.26251768033946249</c:v>
                </c:pt>
                <c:pt idx="5003">
                  <c:v>0.27050840325083503</c:v>
                </c:pt>
                <c:pt idx="5004">
                  <c:v>0.31735657225853309</c:v>
                </c:pt>
                <c:pt idx="5005">
                  <c:v>0.36539512515028955</c:v>
                </c:pt>
                <c:pt idx="5006">
                  <c:v>0.40668744686880137</c:v>
                </c:pt>
                <c:pt idx="5007">
                  <c:v>0.46641107804989707</c:v>
                </c:pt>
                <c:pt idx="5008">
                  <c:v>0.40661951445970673</c:v>
                </c:pt>
                <c:pt idx="5009">
                  <c:v>0.43916840601999346</c:v>
                </c:pt>
                <c:pt idx="5010">
                  <c:v>0.4425084052039176</c:v>
                </c:pt>
                <c:pt idx="5011">
                  <c:v>0.41013896196341804</c:v>
                </c:pt>
                <c:pt idx="5012">
                  <c:v>0.44585946293616341</c:v>
                </c:pt>
                <c:pt idx="5013">
                  <c:v>0.45660327696255842</c:v>
                </c:pt>
                <c:pt idx="5014">
                  <c:v>0.46034857611291302</c:v>
                </c:pt>
                <c:pt idx="5015">
                  <c:v>0.44932484867297845</c:v>
                </c:pt>
                <c:pt idx="5016">
                  <c:v>0.41441698999387383</c:v>
                </c:pt>
                <c:pt idx="5017">
                  <c:v>0.35469317849534227</c:v>
                </c:pt>
                <c:pt idx="5018">
                  <c:v>0.42053356935137187</c:v>
                </c:pt>
                <c:pt idx="5019">
                  <c:v>0.55067482605415363</c:v>
                </c:pt>
                <c:pt idx="5020">
                  <c:v>0.64356933389191451</c:v>
                </c:pt>
                <c:pt idx="5021">
                  <c:v>0.68764798737174426</c:v>
                </c:pt>
                <c:pt idx="5022">
                  <c:v>0.69238225157955191</c:v>
                </c:pt>
                <c:pt idx="5023">
                  <c:v>0.72323776745998247</c:v>
                </c:pt>
                <c:pt idx="5024">
                  <c:v>0.72387471981583573</c:v>
                </c:pt>
                <c:pt idx="5025">
                  <c:v>0.71549050862193886</c:v>
                </c:pt>
                <c:pt idx="5026">
                  <c:v>0.75530787083464646</c:v>
                </c:pt>
                <c:pt idx="5027">
                  <c:v>0.86312073156615365</c:v>
                </c:pt>
                <c:pt idx="5028">
                  <c:v>0.94834819087572098</c:v>
                </c:pt>
                <c:pt idx="5029">
                  <c:v>1.0145812635146982</c:v>
                </c:pt>
                <c:pt idx="5030">
                  <c:v>1.0130288475365987</c:v>
                </c:pt>
                <c:pt idx="5031">
                  <c:v>1.1042420256494574</c:v>
                </c:pt>
                <c:pt idx="5032">
                  <c:v>1.0152769306729399</c:v>
                </c:pt>
                <c:pt idx="5033">
                  <c:v>0.88783203804663025</c:v>
                </c:pt>
                <c:pt idx="5034">
                  <c:v>0.71633079380683229</c:v>
                </c:pt>
                <c:pt idx="5035">
                  <c:v>0.48513373149831207</c:v>
                </c:pt>
                <c:pt idx="5036">
                  <c:v>0.35140889583818485</c:v>
                </c:pt>
                <c:pt idx="5037">
                  <c:v>0.27548060708263067</c:v>
                </c:pt>
                <c:pt idx="5038">
                  <c:v>0.21689514364882601</c:v>
                </c:pt>
                <c:pt idx="5039">
                  <c:v>0.18780719835103848</c:v>
                </c:pt>
                <c:pt idx="5040">
                  <c:v>0.17717404891870495</c:v>
                </c:pt>
                <c:pt idx="5041">
                  <c:v>0.14397283531409169</c:v>
                </c:pt>
                <c:pt idx="5042">
                  <c:v>0.10434258142340171</c:v>
                </c:pt>
                <c:pt idx="5043">
                  <c:v>0.15163703992041869</c:v>
                </c:pt>
                <c:pt idx="5044">
                  <c:v>0.18289570445992126</c:v>
                </c:pt>
                <c:pt idx="5045">
                  <c:v>0.1887469738709408</c:v>
                </c:pt>
                <c:pt idx="5046">
                  <c:v>0.24019910480012349</c:v>
                </c:pt>
                <c:pt idx="5047">
                  <c:v>0.2641161958372425</c:v>
                </c:pt>
                <c:pt idx="5048">
                  <c:v>0.36573881290239924</c:v>
                </c:pt>
                <c:pt idx="5049">
                  <c:v>0.43799737780894599</c:v>
                </c:pt>
                <c:pt idx="5050">
                  <c:v>0.42602093775022981</c:v>
                </c:pt>
                <c:pt idx="5051">
                  <c:v>0.48091378905332399</c:v>
                </c:pt>
                <c:pt idx="5052">
                  <c:v>0.54759794362701641</c:v>
                </c:pt>
                <c:pt idx="5053">
                  <c:v>0.73218513257575757</c:v>
                </c:pt>
                <c:pt idx="5054">
                  <c:v>0.79754419266816934</c:v>
                </c:pt>
                <c:pt idx="5055">
                  <c:v>0.75711882911859307</c:v>
                </c:pt>
                <c:pt idx="5056">
                  <c:v>0.74340301813650844</c:v>
                </c:pt>
                <c:pt idx="5057">
                  <c:v>0.81175430844012364</c:v>
                </c:pt>
                <c:pt idx="5058">
                  <c:v>0.87565176636006792</c:v>
                </c:pt>
                <c:pt idx="5059">
                  <c:v>0.7818081044463604</c:v>
                </c:pt>
                <c:pt idx="5060">
                  <c:v>0.64791265253693009</c:v>
                </c:pt>
                <c:pt idx="5061">
                  <c:v>0.59309433338840245</c:v>
                </c:pt>
                <c:pt idx="5062">
                  <c:v>0.5524351995385558</c:v>
                </c:pt>
                <c:pt idx="5063">
                  <c:v>0.53084793055340251</c:v>
                </c:pt>
                <c:pt idx="5064">
                  <c:v>0.48254813600983198</c:v>
                </c:pt>
                <c:pt idx="5065">
                  <c:v>0.3871508848444184</c:v>
                </c:pt>
                <c:pt idx="5066">
                  <c:v>0.31483422056419502</c:v>
                </c:pt>
                <c:pt idx="5067">
                  <c:v>0.29255759986739599</c:v>
                </c:pt>
                <c:pt idx="5068">
                  <c:v>0.27008288173414091</c:v>
                </c:pt>
                <c:pt idx="5069">
                  <c:v>0.2660015770166958</c:v>
                </c:pt>
                <c:pt idx="5070">
                  <c:v>0.19770990147926415</c:v>
                </c:pt>
                <c:pt idx="5071">
                  <c:v>0.20412235788368124</c:v>
                </c:pt>
                <c:pt idx="5072">
                  <c:v>0.32204242897048097</c:v>
                </c:pt>
                <c:pt idx="5073">
                  <c:v>0.37374106859804423</c:v>
                </c:pt>
                <c:pt idx="5074">
                  <c:v>0.419701784404791</c:v>
                </c:pt>
                <c:pt idx="5075">
                  <c:v>0.42165433759246812</c:v>
                </c:pt>
                <c:pt idx="5076">
                  <c:v>0.4288811363070022</c:v>
                </c:pt>
                <c:pt idx="5077">
                  <c:v>0.48525218883253851</c:v>
                </c:pt>
                <c:pt idx="5078">
                  <c:v>0.51761311475409832</c:v>
                </c:pt>
                <c:pt idx="5079">
                  <c:v>0.50665704202759065</c:v>
                </c:pt>
                <c:pt idx="5080">
                  <c:v>0.45993173365938156</c:v>
                </c:pt>
                <c:pt idx="5081">
                  <c:v>0.4266225607097982</c:v>
                </c:pt>
                <c:pt idx="5082">
                  <c:v>0.41775741710296688</c:v>
                </c:pt>
                <c:pt idx="5083">
                  <c:v>0.3141944396477292</c:v>
                </c:pt>
                <c:pt idx="5084">
                  <c:v>0.245209241239329</c:v>
                </c:pt>
                <c:pt idx="5085">
                  <c:v>0.22529042678760014</c:v>
                </c:pt>
                <c:pt idx="5086">
                  <c:v>0.22223362057174123</c:v>
                </c:pt>
                <c:pt idx="5087">
                  <c:v>0.21094523713457794</c:v>
                </c:pt>
                <c:pt idx="5088">
                  <c:v>0.17393165719623258</c:v>
                </c:pt>
                <c:pt idx="5089">
                  <c:v>0.15379403794037941</c:v>
                </c:pt>
                <c:pt idx="5090">
                  <c:v>0.12732338308457711</c:v>
                </c:pt>
                <c:pt idx="5091">
                  <c:v>0.10906027118112704</c:v>
                </c:pt>
                <c:pt idx="5092">
                  <c:v>9.211873080859774E-2</c:v>
                </c:pt>
                <c:pt idx="5093">
                  <c:v>7.1383616549074158E-2</c:v>
                </c:pt>
                <c:pt idx="5094">
                  <c:v>4.7720919618917224E-2</c:v>
                </c:pt>
                <c:pt idx="5095">
                  <c:v>2.7002348030263502E-2</c:v>
                </c:pt>
                <c:pt idx="5096">
                  <c:v>3.4127284183994959E-2</c:v>
                </c:pt>
                <c:pt idx="5097">
                  <c:v>4.4120548485745287E-2</c:v>
                </c:pt>
                <c:pt idx="5098">
                  <c:v>3.7599350377715994E-2</c:v>
                </c:pt>
                <c:pt idx="5099">
                  <c:v>3.6667330478940559E-2</c:v>
                </c:pt>
                <c:pt idx="5100">
                  <c:v>3.93326869048507E-2</c:v>
                </c:pt>
                <c:pt idx="5101">
                  <c:v>4.6251993620414669E-2</c:v>
                </c:pt>
                <c:pt idx="5102">
                  <c:v>6.1731976161594863E-2</c:v>
                </c:pt>
                <c:pt idx="5103">
                  <c:v>5.2309800511239353E-2</c:v>
                </c:pt>
                <c:pt idx="5104">
                  <c:v>3.9336339403602302E-2</c:v>
                </c:pt>
                <c:pt idx="5105">
                  <c:v>4.5037994496478252E-2</c:v>
                </c:pt>
                <c:pt idx="5106">
                  <c:v>5.3454254467858092E-2</c:v>
                </c:pt>
                <c:pt idx="5107">
                  <c:v>6.671570846536895E-2</c:v>
                </c:pt>
                <c:pt idx="5108">
                  <c:v>0.10749166617930872</c:v>
                </c:pt>
                <c:pt idx="5109">
                  <c:v>0.15474798449135332</c:v>
                </c:pt>
                <c:pt idx="5110">
                  <c:v>0.21112123359314369</c:v>
                </c:pt>
                <c:pt idx="5111">
                  <c:v>0.24763149297615164</c:v>
                </c:pt>
                <c:pt idx="5112">
                  <c:v>0.34692475088764174</c:v>
                </c:pt>
                <c:pt idx="5113">
                  <c:v>0.37231531744158608</c:v>
                </c:pt>
                <c:pt idx="5114">
                  <c:v>0.36658610990055862</c:v>
                </c:pt>
                <c:pt idx="5115">
                  <c:v>0.33857593335150082</c:v>
                </c:pt>
                <c:pt idx="5116">
                  <c:v>0.30069745523091423</c:v>
                </c:pt>
                <c:pt idx="5117">
                  <c:v>0.26011863795759183</c:v>
                </c:pt>
                <c:pt idx="5118">
                  <c:v>0.19422137361711689</c:v>
                </c:pt>
                <c:pt idx="5119">
                  <c:v>0.16984589969283187</c:v>
                </c:pt>
                <c:pt idx="5120">
                  <c:v>0.17789997770676969</c:v>
                </c:pt>
                <c:pt idx="5121">
                  <c:v>0.1903525224835281</c:v>
                </c:pt>
                <c:pt idx="5122">
                  <c:v>0.22113895877685308</c:v>
                </c:pt>
                <c:pt idx="5123">
                  <c:v>0.28754976916876329</c:v>
                </c:pt>
                <c:pt idx="5124">
                  <c:v>0.32454226819284787</c:v>
                </c:pt>
                <c:pt idx="5125">
                  <c:v>0.35713929479826445</c:v>
                </c:pt>
                <c:pt idx="5126">
                  <c:v>0.37295568281483771</c:v>
                </c:pt>
                <c:pt idx="5127">
                  <c:v>0.33028172708672165</c:v>
                </c:pt>
                <c:pt idx="5128">
                  <c:v>0.24794427540422964</c:v>
                </c:pt>
                <c:pt idx="5129">
                  <c:v>0.1980403192795743</c:v>
                </c:pt>
                <c:pt idx="5130">
                  <c:v>0.15135311202193211</c:v>
                </c:pt>
                <c:pt idx="5131">
                  <c:v>9.06905531866182E-2</c:v>
                </c:pt>
                <c:pt idx="5132">
                  <c:v>7.0734642364474187E-2</c:v>
                </c:pt>
                <c:pt idx="5133">
                  <c:v>4.7674489858447203E-2</c:v>
                </c:pt>
                <c:pt idx="5134">
                  <c:v>4.4986067747675162E-2</c:v>
                </c:pt>
                <c:pt idx="5135">
                  <c:v>5.6095358497381259E-2</c:v>
                </c:pt>
                <c:pt idx="5136">
                  <c:v>0.11649189704480457</c:v>
                </c:pt>
                <c:pt idx="5137">
                  <c:v>0.19821022058246329</c:v>
                </c:pt>
                <c:pt idx="5138">
                  <c:v>0.28276488236222963</c:v>
                </c:pt>
                <c:pt idx="5139">
                  <c:v>0.33209244609896077</c:v>
                </c:pt>
                <c:pt idx="5140">
                  <c:v>0.36182821585984676</c:v>
                </c:pt>
                <c:pt idx="5141">
                  <c:v>0.40839438241786363</c:v>
                </c:pt>
                <c:pt idx="5142">
                  <c:v>0.3582927543173412</c:v>
                </c:pt>
                <c:pt idx="5143">
                  <c:v>0.37693306864691323</c:v>
                </c:pt>
                <c:pt idx="5144">
                  <c:v>0.41071135206177101</c:v>
                </c:pt>
                <c:pt idx="5145">
                  <c:v>0.49432341898788235</c:v>
                </c:pt>
                <c:pt idx="5146">
                  <c:v>0.42298250657938385</c:v>
                </c:pt>
                <c:pt idx="5147">
                  <c:v>0.49116824660710634</c:v>
                </c:pt>
                <c:pt idx="5148">
                  <c:v>0.53984026745913827</c:v>
                </c:pt>
                <c:pt idx="5149">
                  <c:v>0.56120257695060849</c:v>
                </c:pt>
                <c:pt idx="5150">
                  <c:v>0.63551608776935942</c:v>
                </c:pt>
                <c:pt idx="5151">
                  <c:v>0.72477429303355134</c:v>
                </c:pt>
                <c:pt idx="5152">
                  <c:v>0.73067732853864542</c:v>
                </c:pt>
                <c:pt idx="5153">
                  <c:v>0.69494894953858244</c:v>
                </c:pt>
                <c:pt idx="5154">
                  <c:v>0.62993357782166026</c:v>
                </c:pt>
                <c:pt idx="5155">
                  <c:v>0.63619580267694731</c:v>
                </c:pt>
                <c:pt idx="5156">
                  <c:v>0.58674313444358661</c:v>
                </c:pt>
                <c:pt idx="5157">
                  <c:v>0.65711203125911233</c:v>
                </c:pt>
                <c:pt idx="5158">
                  <c:v>0.68597079092116076</c:v>
                </c:pt>
                <c:pt idx="5159">
                  <c:v>0.79477586325255711</c:v>
                </c:pt>
                <c:pt idx="5160">
                  <c:v>0.98597906107802147</c:v>
                </c:pt>
                <c:pt idx="5161">
                  <c:v>0.99212238840050238</c:v>
                </c:pt>
                <c:pt idx="5162">
                  <c:v>1.0181665841489889</c:v>
                </c:pt>
                <c:pt idx="5163">
                  <c:v>0.97394345014287875</c:v>
                </c:pt>
                <c:pt idx="5164">
                  <c:v>0.92982901949395591</c:v>
                </c:pt>
                <c:pt idx="5165">
                  <c:v>0.72043620776601114</c:v>
                </c:pt>
                <c:pt idx="5166">
                  <c:v>0.65290653288253897</c:v>
                </c:pt>
                <c:pt idx="5167">
                  <c:v>0.61089445838197665</c:v>
                </c:pt>
                <c:pt idx="5168">
                  <c:v>0.6538122363372022</c:v>
                </c:pt>
                <c:pt idx="5169">
                  <c:v>0.79059363756864254</c:v>
                </c:pt>
                <c:pt idx="5170">
                  <c:v>0.82097995751362352</c:v>
                </c:pt>
                <c:pt idx="5171">
                  <c:v>0.88392793898897359</c:v>
                </c:pt>
                <c:pt idx="5172">
                  <c:v>0.92848937392303277</c:v>
                </c:pt>
                <c:pt idx="5173">
                  <c:v>0.94362709038301207</c:v>
                </c:pt>
                <c:pt idx="5174">
                  <c:v>0.9624858757062148</c:v>
                </c:pt>
                <c:pt idx="5175">
                  <c:v>1.0590726068320562</c:v>
                </c:pt>
                <c:pt idx="5176">
                  <c:v>1.0005524306950584</c:v>
                </c:pt>
                <c:pt idx="5177">
                  <c:v>0.85147208879818825</c:v>
                </c:pt>
                <c:pt idx="5178">
                  <c:v>0.89032965270165487</c:v>
                </c:pt>
                <c:pt idx="5179">
                  <c:v>0.9581421693571226</c:v>
                </c:pt>
                <c:pt idx="5180">
                  <c:v>0.96566436407964251</c:v>
                </c:pt>
                <c:pt idx="5181">
                  <c:v>0.98434793179953184</c:v>
                </c:pt>
                <c:pt idx="5182">
                  <c:v>1.0405229608429816</c:v>
                </c:pt>
                <c:pt idx="5183">
                  <c:v>1.1576854661504654</c:v>
                </c:pt>
                <c:pt idx="5184">
                  <c:v>1.2036975656465214</c:v>
                </c:pt>
                <c:pt idx="5185">
                  <c:v>1.2017054029580443</c:v>
                </c:pt>
                <c:pt idx="5186">
                  <c:v>1.1886213592233008</c:v>
                </c:pt>
                <c:pt idx="5187">
                  <c:v>1.1536778780421111</c:v>
                </c:pt>
                <c:pt idx="5188">
                  <c:v>1.1451235473763532</c:v>
                </c:pt>
                <c:pt idx="5189">
                  <c:v>1.0652564053610296</c:v>
                </c:pt>
                <c:pt idx="5190">
                  <c:v>0.95178789464503755</c:v>
                </c:pt>
                <c:pt idx="5191">
                  <c:v>0.87692307692307692</c:v>
                </c:pt>
                <c:pt idx="5192">
                  <c:v>0.84008560473203919</c:v>
                </c:pt>
                <c:pt idx="5193">
                  <c:v>0.79705831358723933</c:v>
                </c:pt>
                <c:pt idx="5194">
                  <c:v>0.73121705381451674</c:v>
                </c:pt>
                <c:pt idx="5195">
                  <c:v>0.68596245946991108</c:v>
                </c:pt>
                <c:pt idx="5196">
                  <c:v>0.67172778011162459</c:v>
                </c:pt>
                <c:pt idx="5197">
                  <c:v>0.64977812898911924</c:v>
                </c:pt>
                <c:pt idx="5198">
                  <c:v>0.68418122777176427</c:v>
                </c:pt>
                <c:pt idx="5199">
                  <c:v>0.66552650867334473</c:v>
                </c:pt>
                <c:pt idx="5200">
                  <c:v>0.60037233280824864</c:v>
                </c:pt>
                <c:pt idx="5201">
                  <c:v>0.57534285551698616</c:v>
                </c:pt>
                <c:pt idx="5202">
                  <c:v>0.57942195151080855</c:v>
                </c:pt>
                <c:pt idx="5203">
                  <c:v>0.5771583120754834</c:v>
                </c:pt>
                <c:pt idx="5204">
                  <c:v>0.59342037561101102</c:v>
                </c:pt>
                <c:pt idx="5205">
                  <c:v>0.6223432343234323</c:v>
                </c:pt>
                <c:pt idx="5206">
                  <c:v>0.68484998760228122</c:v>
                </c:pt>
                <c:pt idx="5207">
                  <c:v>0.73209054593874834</c:v>
                </c:pt>
                <c:pt idx="5208">
                  <c:v>0.7418313836224284</c:v>
                </c:pt>
                <c:pt idx="5209">
                  <c:v>0.7241508335758533</c:v>
                </c:pt>
                <c:pt idx="5210">
                  <c:v>0.76336608927381755</c:v>
                </c:pt>
                <c:pt idx="5211">
                  <c:v>0.81057984909750302</c:v>
                </c:pt>
                <c:pt idx="5212">
                  <c:v>0.85113473382266103</c:v>
                </c:pt>
                <c:pt idx="5213">
                  <c:v>0.80653133989708681</c:v>
                </c:pt>
                <c:pt idx="5214">
                  <c:v>0.80454125899944617</c:v>
                </c:pt>
                <c:pt idx="5215">
                  <c:v>0.82878378828783783</c:v>
                </c:pt>
                <c:pt idx="5216">
                  <c:v>0.90976047533576776</c:v>
                </c:pt>
                <c:pt idx="5217">
                  <c:v>0.95630361860658419</c:v>
                </c:pt>
                <c:pt idx="5218">
                  <c:v>0.97396565071537111</c:v>
                </c:pt>
                <c:pt idx="5219">
                  <c:v>0.94869829372852976</c:v>
                </c:pt>
                <c:pt idx="5220">
                  <c:v>0.9406397934299241</c:v>
                </c:pt>
                <c:pt idx="5221">
                  <c:v>0.95065750851238684</c:v>
                </c:pt>
                <c:pt idx="5222">
                  <c:v>0.95751367358655914</c:v>
                </c:pt>
                <c:pt idx="5223">
                  <c:v>0.89222960940282559</c:v>
                </c:pt>
                <c:pt idx="5224">
                  <c:v>0.76998621155415481</c:v>
                </c:pt>
                <c:pt idx="5225">
                  <c:v>0.71057163020465763</c:v>
                </c:pt>
                <c:pt idx="5226">
                  <c:v>0.6433415805559598</c:v>
                </c:pt>
                <c:pt idx="5227">
                  <c:v>0.53445919266166508</c:v>
                </c:pt>
                <c:pt idx="5228">
                  <c:v>0.47549595204251904</c:v>
                </c:pt>
                <c:pt idx="5229">
                  <c:v>0.46800501882057716</c:v>
                </c:pt>
                <c:pt idx="5230">
                  <c:v>0.45205815379225789</c:v>
                </c:pt>
                <c:pt idx="5231">
                  <c:v>0.40594951923076922</c:v>
                </c:pt>
                <c:pt idx="5232">
                  <c:v>0.35951011464569393</c:v>
                </c:pt>
                <c:pt idx="5233">
                  <c:v>0.33816521843591074</c:v>
                </c:pt>
                <c:pt idx="5234">
                  <c:v>0.31108096245161804</c:v>
                </c:pt>
                <c:pt idx="5235">
                  <c:v>0.3081009296148739</c:v>
                </c:pt>
                <c:pt idx="5236">
                  <c:v>0.29271435408460034</c:v>
                </c:pt>
                <c:pt idx="5237">
                  <c:v>0.25104004573025501</c:v>
                </c:pt>
                <c:pt idx="5238">
                  <c:v>0.23808120848510816</c:v>
                </c:pt>
                <c:pt idx="5239">
                  <c:v>0.24320300678479037</c:v>
                </c:pt>
                <c:pt idx="5240">
                  <c:v>0.32174694379418789</c:v>
                </c:pt>
                <c:pt idx="5241">
                  <c:v>0.40812277661224106</c:v>
                </c:pt>
                <c:pt idx="5242">
                  <c:v>0.49972768120546446</c:v>
                </c:pt>
                <c:pt idx="5243">
                  <c:v>0.55542517945886261</c:v>
                </c:pt>
                <c:pt idx="5244">
                  <c:v>0.57691084972069573</c:v>
                </c:pt>
                <c:pt idx="5245">
                  <c:v>0.61288156005373107</c:v>
                </c:pt>
                <c:pt idx="5246">
                  <c:v>0.62983571807101224</c:v>
                </c:pt>
                <c:pt idx="5247">
                  <c:v>0.55490596079211851</c:v>
                </c:pt>
                <c:pt idx="5248">
                  <c:v>0.40673766468920497</c:v>
                </c:pt>
                <c:pt idx="5249">
                  <c:v>0.29643290463479743</c:v>
                </c:pt>
                <c:pt idx="5250">
                  <c:v>0.22574761072859936</c:v>
                </c:pt>
                <c:pt idx="5251">
                  <c:v>0.16991271140207309</c:v>
                </c:pt>
                <c:pt idx="5252">
                  <c:v>0.1575175657139658</c:v>
                </c:pt>
                <c:pt idx="5253">
                  <c:v>0.14180576407901321</c:v>
                </c:pt>
                <c:pt idx="5254">
                  <c:v>0.12805610571771808</c:v>
                </c:pt>
                <c:pt idx="5255">
                  <c:v>0.12114514261656666</c:v>
                </c:pt>
                <c:pt idx="5256">
                  <c:v>0.10469617294770669</c:v>
                </c:pt>
                <c:pt idx="5257">
                  <c:v>9.1615603048871605E-2</c:v>
                </c:pt>
                <c:pt idx="5258">
                  <c:v>7.1203599550056229E-2</c:v>
                </c:pt>
                <c:pt idx="5259">
                  <c:v>6.3071967201112814E-2</c:v>
                </c:pt>
                <c:pt idx="5260">
                  <c:v>6.838611533674456E-2</c:v>
                </c:pt>
                <c:pt idx="5261">
                  <c:v>6.8934512213397275E-2</c:v>
                </c:pt>
                <c:pt idx="5262">
                  <c:v>6.0965002046663941E-2</c:v>
                </c:pt>
                <c:pt idx="5263">
                  <c:v>5.0187461439893694E-2</c:v>
                </c:pt>
                <c:pt idx="5264">
                  <c:v>5.2088156310769511E-2</c:v>
                </c:pt>
                <c:pt idx="5265">
                  <c:v>7.1167883211678828E-2</c:v>
                </c:pt>
                <c:pt idx="5266">
                  <c:v>0.11548343475321166</c:v>
                </c:pt>
                <c:pt idx="5267">
                  <c:v>0.17056154670436149</c:v>
                </c:pt>
                <c:pt idx="5268">
                  <c:v>0.22729134431600986</c:v>
                </c:pt>
                <c:pt idx="5269">
                  <c:v>0.28460342146189732</c:v>
                </c:pt>
                <c:pt idx="5270">
                  <c:v>0.31593651405312972</c:v>
                </c:pt>
                <c:pt idx="5271">
                  <c:v>0.34120376022463683</c:v>
                </c:pt>
                <c:pt idx="5272">
                  <c:v>0.33611899995344291</c:v>
                </c:pt>
                <c:pt idx="5273">
                  <c:v>0.37010270064663375</c:v>
                </c:pt>
                <c:pt idx="5274">
                  <c:v>0.41214344538444264</c:v>
                </c:pt>
                <c:pt idx="5275">
                  <c:v>0.49056899115598346</c:v>
                </c:pt>
                <c:pt idx="5276">
                  <c:v>0.50103364029317798</c:v>
                </c:pt>
                <c:pt idx="5277">
                  <c:v>0.53148957097810057</c:v>
                </c:pt>
                <c:pt idx="5278">
                  <c:v>0.56744970715558951</c:v>
                </c:pt>
                <c:pt idx="5279">
                  <c:v>0.64382114375298216</c:v>
                </c:pt>
                <c:pt idx="5280">
                  <c:v>0.59708446577953478</c:v>
                </c:pt>
                <c:pt idx="5281">
                  <c:v>0.51622824474436446</c:v>
                </c:pt>
                <c:pt idx="5282">
                  <c:v>0.462176689152628</c:v>
                </c:pt>
                <c:pt idx="5283">
                  <c:v>0.43964633068081338</c:v>
                </c:pt>
                <c:pt idx="5284">
                  <c:v>0.42052536353280168</c:v>
                </c:pt>
                <c:pt idx="5285">
                  <c:v>0.37673057985286451</c:v>
                </c:pt>
                <c:pt idx="5286">
                  <c:v>0.33277119190516341</c:v>
                </c:pt>
                <c:pt idx="5287">
                  <c:v>0.33176568227401615</c:v>
                </c:pt>
                <c:pt idx="5288">
                  <c:v>0.30981898216772219</c:v>
                </c:pt>
                <c:pt idx="5289">
                  <c:v>0.37063531874986361</c:v>
                </c:pt>
                <c:pt idx="5290">
                  <c:v>0.45926295685389351</c:v>
                </c:pt>
                <c:pt idx="5291">
                  <c:v>0.56271531644746819</c:v>
                </c:pt>
                <c:pt idx="5292">
                  <c:v>0.54561215753424652</c:v>
                </c:pt>
                <c:pt idx="5293">
                  <c:v>0.58106335534082454</c:v>
                </c:pt>
                <c:pt idx="5294">
                  <c:v>0.72473108308605338</c:v>
                </c:pt>
                <c:pt idx="5295">
                  <c:v>0.76581674234485964</c:v>
                </c:pt>
                <c:pt idx="5296">
                  <c:v>0.76041477582138328</c:v>
                </c:pt>
                <c:pt idx="5297">
                  <c:v>0.71443915195666396</c:v>
                </c:pt>
                <c:pt idx="5298">
                  <c:v>0.65103056147832261</c:v>
                </c:pt>
                <c:pt idx="5299">
                  <c:v>0.67617458413724774</c:v>
                </c:pt>
                <c:pt idx="5300">
                  <c:v>0.61778003691912586</c:v>
                </c:pt>
                <c:pt idx="5301">
                  <c:v>0.57124978667728532</c:v>
                </c:pt>
                <c:pt idx="5302">
                  <c:v>0.53073237937188844</c:v>
                </c:pt>
                <c:pt idx="5303">
                  <c:v>0.46475362904583872</c:v>
                </c:pt>
                <c:pt idx="5304">
                  <c:v>0.41539276257722862</c:v>
                </c:pt>
                <c:pt idx="5305">
                  <c:v>0.4171348314606742</c:v>
                </c:pt>
                <c:pt idx="5306">
                  <c:v>0.40578348093258637</c:v>
                </c:pt>
                <c:pt idx="5307">
                  <c:v>0.35636158351563052</c:v>
                </c:pt>
                <c:pt idx="5308">
                  <c:v>0.29361047988236871</c:v>
                </c:pt>
                <c:pt idx="5309">
                  <c:v>0.21953265081843942</c:v>
                </c:pt>
                <c:pt idx="5310">
                  <c:v>0.21505964214711729</c:v>
                </c:pt>
                <c:pt idx="5311">
                  <c:v>0.25075008721944408</c:v>
                </c:pt>
                <c:pt idx="5312">
                  <c:v>0.28926926203594983</c:v>
                </c:pt>
                <c:pt idx="5313">
                  <c:v>0.2504708097928437</c:v>
                </c:pt>
                <c:pt idx="5314">
                  <c:v>0.23070232174320318</c:v>
                </c:pt>
                <c:pt idx="5315">
                  <c:v>0.23715664606918943</c:v>
                </c:pt>
                <c:pt idx="5316">
                  <c:v>0.24897895067546341</c:v>
                </c:pt>
                <c:pt idx="5317">
                  <c:v>0.25690518865756701</c:v>
                </c:pt>
                <c:pt idx="5318">
                  <c:v>0.25632442255272347</c:v>
                </c:pt>
                <c:pt idx="5319">
                  <c:v>0.24649580954694519</c:v>
                </c:pt>
                <c:pt idx="5320">
                  <c:v>0.24430249426739667</c:v>
                </c:pt>
                <c:pt idx="5321">
                  <c:v>0.21699034910044082</c:v>
                </c:pt>
                <c:pt idx="5322">
                  <c:v>0.17889114571579032</c:v>
                </c:pt>
                <c:pt idx="5323">
                  <c:v>0.13119410836401893</c:v>
                </c:pt>
                <c:pt idx="5324">
                  <c:v>0.11647245620172772</c:v>
                </c:pt>
                <c:pt idx="5325">
                  <c:v>0.13575460402531503</c:v>
                </c:pt>
                <c:pt idx="5326">
                  <c:v>0.14428719364860201</c:v>
                </c:pt>
                <c:pt idx="5327">
                  <c:v>0.15114472884446545</c:v>
                </c:pt>
                <c:pt idx="5328">
                  <c:v>0.14482734418865806</c:v>
                </c:pt>
                <c:pt idx="5329">
                  <c:v>0.14651764536764178</c:v>
                </c:pt>
                <c:pt idx="5330">
                  <c:v>0.13802969938428106</c:v>
                </c:pt>
                <c:pt idx="5331">
                  <c:v>0.10881013378878451</c:v>
                </c:pt>
                <c:pt idx="5332">
                  <c:v>8.5823909531502429E-2</c:v>
                </c:pt>
                <c:pt idx="5333">
                  <c:v>7.5907686928142662E-2</c:v>
                </c:pt>
                <c:pt idx="5334">
                  <c:v>5.4559547920886152E-2</c:v>
                </c:pt>
                <c:pt idx="5335">
                  <c:v>5.2953823144512996E-2</c:v>
                </c:pt>
                <c:pt idx="5336">
                  <c:v>5.0710402485266572E-2</c:v>
                </c:pt>
                <c:pt idx="5337">
                  <c:v>3.9219181745253587E-2</c:v>
                </c:pt>
                <c:pt idx="5338">
                  <c:v>3.4630963096309635E-2</c:v>
                </c:pt>
                <c:pt idx="5339">
                  <c:v>3.1409011009344068E-2</c:v>
                </c:pt>
                <c:pt idx="5340">
                  <c:v>3.4204512996286768E-2</c:v>
                </c:pt>
                <c:pt idx="5341">
                  <c:v>4.0075623771735618E-2</c:v>
                </c:pt>
                <c:pt idx="5342">
                  <c:v>4.3451256437462796E-2</c:v>
                </c:pt>
                <c:pt idx="5343">
                  <c:v>5.5120568113830863E-2</c:v>
                </c:pt>
                <c:pt idx="5344">
                  <c:v>6.5988700564971761E-2</c:v>
                </c:pt>
                <c:pt idx="5345">
                  <c:v>0.10942133678047296</c:v>
                </c:pt>
                <c:pt idx="5346">
                  <c:v>0.13316759444414419</c:v>
                </c:pt>
                <c:pt idx="5347">
                  <c:v>0.1200857142857143</c:v>
                </c:pt>
                <c:pt idx="5348">
                  <c:v>0.10390253854449011</c:v>
                </c:pt>
                <c:pt idx="5349">
                  <c:v>0.13535228677379482</c:v>
                </c:pt>
                <c:pt idx="5350">
                  <c:v>9.3872491540755165E-2</c:v>
                </c:pt>
                <c:pt idx="5351">
                  <c:v>7.5371201342526728E-2</c:v>
                </c:pt>
                <c:pt idx="5352">
                  <c:v>9.5123350545037288E-2</c:v>
                </c:pt>
                <c:pt idx="5353">
                  <c:v>0.13899051890318267</c:v>
                </c:pt>
                <c:pt idx="5354">
                  <c:v>0.15079017555033639</c:v>
                </c:pt>
                <c:pt idx="5355">
                  <c:v>0.17987381453116941</c:v>
                </c:pt>
                <c:pt idx="5356">
                  <c:v>0.21861633245693207</c:v>
                </c:pt>
                <c:pt idx="5357">
                  <c:v>0.15595251640307964</c:v>
                </c:pt>
                <c:pt idx="5358">
                  <c:v>0.1260405916752666</c:v>
                </c:pt>
                <c:pt idx="5359">
                  <c:v>9.898012957624229E-2</c:v>
                </c:pt>
                <c:pt idx="5360">
                  <c:v>7.3262078303707748E-2</c:v>
                </c:pt>
                <c:pt idx="5361">
                  <c:v>9.3140913991871924E-2</c:v>
                </c:pt>
                <c:pt idx="5362">
                  <c:v>0.14383335170285461</c:v>
                </c:pt>
                <c:pt idx="5363">
                  <c:v>0.20290983948590985</c:v>
                </c:pt>
                <c:pt idx="5364">
                  <c:v>0.23528087991223381</c:v>
                </c:pt>
                <c:pt idx="5365">
                  <c:v>0.32393521295740851</c:v>
                </c:pt>
                <c:pt idx="5366">
                  <c:v>0.38816234166985047</c:v>
                </c:pt>
                <c:pt idx="5367">
                  <c:v>0.4194547348923362</c:v>
                </c:pt>
                <c:pt idx="5368">
                  <c:v>0.41351004936049529</c:v>
                </c:pt>
                <c:pt idx="5369">
                  <c:v>0.46047576228235104</c:v>
                </c:pt>
                <c:pt idx="5370">
                  <c:v>0.48746429704855593</c:v>
                </c:pt>
                <c:pt idx="5371">
                  <c:v>0.52680738624143553</c:v>
                </c:pt>
                <c:pt idx="5372">
                  <c:v>0.5532040708350191</c:v>
                </c:pt>
                <c:pt idx="5373">
                  <c:v>0.74529153766769862</c:v>
                </c:pt>
                <c:pt idx="5374">
                  <c:v>0.84416210446579198</c:v>
                </c:pt>
                <c:pt idx="5375">
                  <c:v>0.96947599853426158</c:v>
                </c:pt>
                <c:pt idx="5376">
                  <c:v>0.99655476017302758</c:v>
                </c:pt>
                <c:pt idx="5377">
                  <c:v>1.0262257696693271</c:v>
                </c:pt>
                <c:pt idx="5378">
                  <c:v>1.0260246717071231</c:v>
                </c:pt>
                <c:pt idx="5379">
                  <c:v>0.95486803285224475</c:v>
                </c:pt>
                <c:pt idx="5380">
                  <c:v>0.92109378132392439</c:v>
                </c:pt>
                <c:pt idx="5381">
                  <c:v>0.86815655669859293</c:v>
                </c:pt>
                <c:pt idx="5382">
                  <c:v>0.8</c:v>
                </c:pt>
                <c:pt idx="5383">
                  <c:v>0.78665796770510521</c:v>
                </c:pt>
                <c:pt idx="5384">
                  <c:v>0.77561447531517369</c:v>
                </c:pt>
                <c:pt idx="5385">
                  <c:v>0.73531803659599193</c:v>
                </c:pt>
                <c:pt idx="5386">
                  <c:v>0.71866215363432973</c:v>
                </c:pt>
                <c:pt idx="5387">
                  <c:v>0.725166235953425</c:v>
                </c:pt>
                <c:pt idx="5388">
                  <c:v>0.76249963600361081</c:v>
                </c:pt>
                <c:pt idx="5389">
                  <c:v>0.77688689014467871</c:v>
                </c:pt>
                <c:pt idx="5390">
                  <c:v>0.77482754519505237</c:v>
                </c:pt>
                <c:pt idx="5391">
                  <c:v>0.7155132238145171</c:v>
                </c:pt>
                <c:pt idx="5392">
                  <c:v>0.61503497455159073</c:v>
                </c:pt>
                <c:pt idx="5393">
                  <c:v>0.55084953105885548</c:v>
                </c:pt>
                <c:pt idx="5394">
                  <c:v>0.46734190000561138</c:v>
                </c:pt>
                <c:pt idx="5395">
                  <c:v>0.37770343633535824</c:v>
                </c:pt>
                <c:pt idx="5396">
                  <c:v>0.33488839022085742</c:v>
                </c:pt>
                <c:pt idx="5397">
                  <c:v>0.33354230009716951</c:v>
                </c:pt>
                <c:pt idx="5398">
                  <c:v>0.32857338070511072</c:v>
                </c:pt>
                <c:pt idx="5399">
                  <c:v>0.30642885568539491</c:v>
                </c:pt>
                <c:pt idx="5400">
                  <c:v>0.27266243759618636</c:v>
                </c:pt>
                <c:pt idx="5401">
                  <c:v>0.22958344489920815</c:v>
                </c:pt>
                <c:pt idx="5402">
                  <c:v>0.18068547768747126</c:v>
                </c:pt>
                <c:pt idx="5403">
                  <c:v>0.14130190796857464</c:v>
                </c:pt>
                <c:pt idx="5404">
                  <c:v>0.10745904496340189</c:v>
                </c:pt>
                <c:pt idx="5405">
                  <c:v>7.7444650806285181E-2</c:v>
                </c:pt>
                <c:pt idx="5406">
                  <c:v>5.7015567903088558E-2</c:v>
                </c:pt>
                <c:pt idx="5407">
                  <c:v>3.7466003938853978E-2</c:v>
                </c:pt>
                <c:pt idx="5408">
                  <c:v>4.7605861313026417E-2</c:v>
                </c:pt>
                <c:pt idx="5409">
                  <c:v>6.1307009419684214E-2</c:v>
                </c:pt>
                <c:pt idx="5410">
                  <c:v>6.7990264569342415E-2</c:v>
                </c:pt>
                <c:pt idx="5411">
                  <c:v>7.1376230822074643E-2</c:v>
                </c:pt>
                <c:pt idx="5412">
                  <c:v>7.1211810071417164E-2</c:v>
                </c:pt>
                <c:pt idx="5413">
                  <c:v>6.8102363305831345E-2</c:v>
                </c:pt>
                <c:pt idx="5414">
                  <c:v>6.4811238775707269E-2</c:v>
                </c:pt>
                <c:pt idx="5415">
                  <c:v>7.0347957639939493E-2</c:v>
                </c:pt>
                <c:pt idx="5416">
                  <c:v>7.9473918232664809E-2</c:v>
                </c:pt>
                <c:pt idx="5417">
                  <c:v>0.11119604423954327</c:v>
                </c:pt>
                <c:pt idx="5418">
                  <c:v>0.12829829353246297</c:v>
                </c:pt>
                <c:pt idx="5419">
                  <c:v>0.17420219757110564</c:v>
                </c:pt>
                <c:pt idx="5420">
                  <c:v>0.24990645213021861</c:v>
                </c:pt>
                <c:pt idx="5421">
                  <c:v>0.35902331771104551</c:v>
                </c:pt>
                <c:pt idx="5422">
                  <c:v>0.44089823220258006</c:v>
                </c:pt>
                <c:pt idx="5423">
                  <c:v>0.47780465369808878</c:v>
                </c:pt>
                <c:pt idx="5424">
                  <c:v>0.49365187225063484</c:v>
                </c:pt>
                <c:pt idx="5425">
                  <c:v>0.51275855756910116</c:v>
                </c:pt>
                <c:pt idx="5426">
                  <c:v>0.52770138965277014</c:v>
                </c:pt>
                <c:pt idx="5427">
                  <c:v>0.56410712380410433</c:v>
                </c:pt>
                <c:pt idx="5428">
                  <c:v>0.54245671887881286</c:v>
                </c:pt>
                <c:pt idx="5429">
                  <c:v>0.48706128566984358</c:v>
                </c:pt>
                <c:pt idx="5430">
                  <c:v>0.43903800417414934</c:v>
                </c:pt>
                <c:pt idx="5431">
                  <c:v>0.41944678813308106</c:v>
                </c:pt>
                <c:pt idx="5432">
                  <c:v>0.41110712845557595</c:v>
                </c:pt>
                <c:pt idx="5433">
                  <c:v>0.41244280183034143</c:v>
                </c:pt>
                <c:pt idx="5434">
                  <c:v>0.44142457546858138</c:v>
                </c:pt>
                <c:pt idx="5435">
                  <c:v>0.47645571885555782</c:v>
                </c:pt>
                <c:pt idx="5436">
                  <c:v>0.47555396871443562</c:v>
                </c:pt>
                <c:pt idx="5437">
                  <c:v>0.46240499457111828</c:v>
                </c:pt>
                <c:pt idx="5438">
                  <c:v>0.45806406293902785</c:v>
                </c:pt>
                <c:pt idx="5439">
                  <c:v>0.41261619243596115</c:v>
                </c:pt>
                <c:pt idx="5440">
                  <c:v>0.34845836694451909</c:v>
                </c:pt>
                <c:pt idx="5441">
                  <c:v>0.34321626448097436</c:v>
                </c:pt>
                <c:pt idx="5442">
                  <c:v>0.35775467975554598</c:v>
                </c:pt>
                <c:pt idx="5443">
                  <c:v>0.34054692605439096</c:v>
                </c:pt>
                <c:pt idx="5444">
                  <c:v>0.2623803363518758</c:v>
                </c:pt>
                <c:pt idx="5445">
                  <c:v>0.2198286828937325</c:v>
                </c:pt>
                <c:pt idx="5446">
                  <c:v>0.187036863333646</c:v>
                </c:pt>
                <c:pt idx="5447">
                  <c:v>0.12904974922055035</c:v>
                </c:pt>
                <c:pt idx="5448">
                  <c:v>0.13303241398919535</c:v>
                </c:pt>
                <c:pt idx="5449">
                  <c:v>0.15679657449742362</c:v>
                </c:pt>
                <c:pt idx="5450">
                  <c:v>0.20676869388200222</c:v>
                </c:pt>
                <c:pt idx="5451">
                  <c:v>0.23113947518539643</c:v>
                </c:pt>
                <c:pt idx="5452">
                  <c:v>0.2327751671189357</c:v>
                </c:pt>
                <c:pt idx="5453">
                  <c:v>0.17320923858737547</c:v>
                </c:pt>
                <c:pt idx="5454">
                  <c:v>0.13866575235109718</c:v>
                </c:pt>
                <c:pt idx="5455">
                  <c:v>0.10482555869450379</c:v>
                </c:pt>
                <c:pt idx="5456">
                  <c:v>0.12452590220526445</c:v>
                </c:pt>
                <c:pt idx="5457">
                  <c:v>0.10527710311327003</c:v>
                </c:pt>
                <c:pt idx="5458">
                  <c:v>9.6133404198777569E-2</c:v>
                </c:pt>
                <c:pt idx="5459">
                  <c:v>9.1170652760294915E-2</c:v>
                </c:pt>
                <c:pt idx="5460">
                  <c:v>9.9231854522652457E-2</c:v>
                </c:pt>
                <c:pt idx="5461">
                  <c:v>0.10371362418849595</c:v>
                </c:pt>
                <c:pt idx="5462">
                  <c:v>8.5052771702957136E-2</c:v>
                </c:pt>
                <c:pt idx="5463">
                  <c:v>6.3238141335914808E-2</c:v>
                </c:pt>
                <c:pt idx="5464">
                  <c:v>4.913868747979494E-2</c:v>
                </c:pt>
                <c:pt idx="5465">
                  <c:v>4.5277347235921285E-2</c:v>
                </c:pt>
                <c:pt idx="5466">
                  <c:v>3.992991288467708E-2</c:v>
                </c:pt>
                <c:pt idx="5467">
                  <c:v>3.5858220522889318E-2</c:v>
                </c:pt>
                <c:pt idx="5468">
                  <c:v>3.6639226447144908E-2</c:v>
                </c:pt>
                <c:pt idx="5469">
                  <c:v>5.2295012079010945E-2</c:v>
                </c:pt>
                <c:pt idx="5470">
                  <c:v>7.5908733280881199E-2</c:v>
                </c:pt>
                <c:pt idx="5471">
                  <c:v>0.11683732284532447</c:v>
                </c:pt>
                <c:pt idx="5472">
                  <c:v>0.160632275979921</c:v>
                </c:pt>
                <c:pt idx="5473">
                  <c:v>0.18722226269396083</c:v>
                </c:pt>
                <c:pt idx="5474">
                  <c:v>0.24149462052922366</c:v>
                </c:pt>
                <c:pt idx="5475">
                  <c:v>0.28118220293772456</c:v>
                </c:pt>
                <c:pt idx="5476">
                  <c:v>0.30383657199800701</c:v>
                </c:pt>
                <c:pt idx="5477">
                  <c:v>0.31805551576957236</c:v>
                </c:pt>
                <c:pt idx="5478">
                  <c:v>0.29326511126888144</c:v>
                </c:pt>
                <c:pt idx="5479">
                  <c:v>0.2378344799024458</c:v>
                </c:pt>
                <c:pt idx="5480">
                  <c:v>0.24767373246788615</c:v>
                </c:pt>
                <c:pt idx="5481">
                  <c:v>0.28750747160789003</c:v>
                </c:pt>
                <c:pt idx="5482">
                  <c:v>0.34427682151480909</c:v>
                </c:pt>
                <c:pt idx="5483">
                  <c:v>0.43394749787576586</c:v>
                </c:pt>
                <c:pt idx="5484">
                  <c:v>0.47436668671880217</c:v>
                </c:pt>
                <c:pt idx="5485">
                  <c:v>0.52174700568297605</c:v>
                </c:pt>
                <c:pt idx="5486">
                  <c:v>0.56774716369529987</c:v>
                </c:pt>
                <c:pt idx="5487">
                  <c:v>0.58301051466519105</c:v>
                </c:pt>
                <c:pt idx="5488">
                  <c:v>0.50457317073170738</c:v>
                </c:pt>
                <c:pt idx="5489">
                  <c:v>0.45725066654616126</c:v>
                </c:pt>
                <c:pt idx="5490">
                  <c:v>0.45018221661148561</c:v>
                </c:pt>
                <c:pt idx="5491">
                  <c:v>0.38034198796242663</c:v>
                </c:pt>
                <c:pt idx="5492">
                  <c:v>0.28066234851650651</c:v>
                </c:pt>
                <c:pt idx="5493">
                  <c:v>0.25388497619115508</c:v>
                </c:pt>
                <c:pt idx="5494">
                  <c:v>0.2573260073260073</c:v>
                </c:pt>
                <c:pt idx="5495">
                  <c:v>0.26567072755734028</c:v>
                </c:pt>
                <c:pt idx="5496">
                  <c:v>0.24376701913215693</c:v>
                </c:pt>
                <c:pt idx="5497">
                  <c:v>0.19073941134242645</c:v>
                </c:pt>
                <c:pt idx="5498">
                  <c:v>0.16756191643534374</c:v>
                </c:pt>
                <c:pt idx="5499">
                  <c:v>0.14553445850914204</c:v>
                </c:pt>
                <c:pt idx="5500">
                  <c:v>0.12929478554786203</c:v>
                </c:pt>
                <c:pt idx="5501">
                  <c:v>0.13628513999377179</c:v>
                </c:pt>
                <c:pt idx="5502">
                  <c:v>0.13318537667975516</c:v>
                </c:pt>
                <c:pt idx="5503">
                  <c:v>0.13557307736258714</c:v>
                </c:pt>
                <c:pt idx="5504">
                  <c:v>0.19628006796029684</c:v>
                </c:pt>
                <c:pt idx="5505">
                  <c:v>0.27661022904451327</c:v>
                </c:pt>
                <c:pt idx="5506">
                  <c:v>0.34475299103792328</c:v>
                </c:pt>
                <c:pt idx="5507">
                  <c:v>0.39980407344967422</c:v>
                </c:pt>
                <c:pt idx="5508">
                  <c:v>0.40659904395476276</c:v>
                </c:pt>
                <c:pt idx="5509">
                  <c:v>0.37768479102167185</c:v>
                </c:pt>
                <c:pt idx="5510">
                  <c:v>0.36323048911281275</c:v>
                </c:pt>
                <c:pt idx="5511">
                  <c:v>0.31696193650236804</c:v>
                </c:pt>
                <c:pt idx="5512">
                  <c:v>0.27503519362458539</c:v>
                </c:pt>
                <c:pt idx="5513">
                  <c:v>0.21129188926663428</c:v>
                </c:pt>
                <c:pt idx="5514">
                  <c:v>0.16265594821736182</c:v>
                </c:pt>
                <c:pt idx="5515">
                  <c:v>0.15335305719921105</c:v>
                </c:pt>
                <c:pt idx="5516">
                  <c:v>0.16009507829977629</c:v>
                </c:pt>
                <c:pt idx="5517">
                  <c:v>0.20475729330589515</c:v>
                </c:pt>
                <c:pt idx="5518">
                  <c:v>0.30007548656011029</c:v>
                </c:pt>
                <c:pt idx="5519">
                  <c:v>0.29440985097600225</c:v>
                </c:pt>
                <c:pt idx="5520">
                  <c:v>0.22436915801529539</c:v>
                </c:pt>
                <c:pt idx="5521">
                  <c:v>0.31901793567631653</c:v>
                </c:pt>
                <c:pt idx="5522">
                  <c:v>0.39286545172547499</c:v>
                </c:pt>
                <c:pt idx="5523">
                  <c:v>0.51199325618821367</c:v>
                </c:pt>
                <c:pt idx="5524">
                  <c:v>0.50094069837447319</c:v>
                </c:pt>
                <c:pt idx="5525">
                  <c:v>0.4782847115595526</c:v>
                </c:pt>
                <c:pt idx="5526">
                  <c:v>0.42461772185342983</c:v>
                </c:pt>
                <c:pt idx="5527">
                  <c:v>0.42951006570459932</c:v>
                </c:pt>
                <c:pt idx="5528">
                  <c:v>0.46517739816031545</c:v>
                </c:pt>
                <c:pt idx="5529">
                  <c:v>0.51639074662865914</c:v>
                </c:pt>
                <c:pt idx="5530">
                  <c:v>0.59364791786763293</c:v>
                </c:pt>
                <c:pt idx="5531">
                  <c:v>0.63566810344827585</c:v>
                </c:pt>
                <c:pt idx="5532">
                  <c:v>0.65565383045312287</c:v>
                </c:pt>
                <c:pt idx="5533">
                  <c:v>0.75818085610048191</c:v>
                </c:pt>
                <c:pt idx="5534">
                  <c:v>0.74796770601336315</c:v>
                </c:pt>
                <c:pt idx="5535">
                  <c:v>0.76679602565161142</c:v>
                </c:pt>
                <c:pt idx="5536">
                  <c:v>0.75240248728094961</c:v>
                </c:pt>
                <c:pt idx="5537">
                  <c:v>0.69316121349895798</c:v>
                </c:pt>
                <c:pt idx="5538">
                  <c:v>0.66171197223828793</c:v>
                </c:pt>
                <c:pt idx="5539">
                  <c:v>0.62108068097705393</c:v>
                </c:pt>
                <c:pt idx="5540">
                  <c:v>0.56569487000576402</c:v>
                </c:pt>
                <c:pt idx="5541">
                  <c:v>0.62466946146404378</c:v>
                </c:pt>
                <c:pt idx="5542">
                  <c:v>0.64992237364153871</c:v>
                </c:pt>
                <c:pt idx="5543">
                  <c:v>0.71287494914376603</c:v>
                </c:pt>
                <c:pt idx="5544">
                  <c:v>0.83638955235380219</c:v>
                </c:pt>
                <c:pt idx="5545">
                  <c:v>0.90585782288839045</c:v>
                </c:pt>
                <c:pt idx="5546">
                  <c:v>0.9071704731157082</c:v>
                </c:pt>
                <c:pt idx="5547">
                  <c:v>0.87128363821536314</c:v>
                </c:pt>
                <c:pt idx="5548">
                  <c:v>0.83778966131907295</c:v>
                </c:pt>
                <c:pt idx="5549">
                  <c:v>0.80164734821661521</c:v>
                </c:pt>
                <c:pt idx="5550">
                  <c:v>0.71711163369760689</c:v>
                </c:pt>
                <c:pt idx="5551">
                  <c:v>0.64419011285964078</c:v>
                </c:pt>
                <c:pt idx="5552">
                  <c:v>0.64735735735735733</c:v>
                </c:pt>
                <c:pt idx="5553">
                  <c:v>0.66080195238230377</c:v>
                </c:pt>
                <c:pt idx="5554">
                  <c:v>0.66134239115178395</c:v>
                </c:pt>
                <c:pt idx="5555">
                  <c:v>0.67358384744812116</c:v>
                </c:pt>
                <c:pt idx="5556">
                  <c:v>0.71902944535755076</c:v>
                </c:pt>
                <c:pt idx="5557">
                  <c:v>0.68694264009688433</c:v>
                </c:pt>
                <c:pt idx="5558">
                  <c:v>0.69575967714431863</c:v>
                </c:pt>
                <c:pt idx="5559">
                  <c:v>0.71998999666555508</c:v>
                </c:pt>
                <c:pt idx="5560">
                  <c:v>0.69551512045105079</c:v>
                </c:pt>
                <c:pt idx="5561">
                  <c:v>0.65933210514024754</c:v>
                </c:pt>
                <c:pt idx="5562">
                  <c:v>0.62900307084887042</c:v>
                </c:pt>
                <c:pt idx="5563">
                  <c:v>0.61964275523597567</c:v>
                </c:pt>
                <c:pt idx="5564">
                  <c:v>0.62375090514120202</c:v>
                </c:pt>
                <c:pt idx="5565">
                  <c:v>0.68899356256869204</c:v>
                </c:pt>
                <c:pt idx="5566">
                  <c:v>0.77555692223588901</c:v>
                </c:pt>
                <c:pt idx="5567">
                  <c:v>0.81706126875112961</c:v>
                </c:pt>
                <c:pt idx="5568">
                  <c:v>0.88247990473355176</c:v>
                </c:pt>
                <c:pt idx="5569">
                  <c:v>0.86878390596745025</c:v>
                </c:pt>
                <c:pt idx="5570">
                  <c:v>0.88835151651482769</c:v>
                </c:pt>
                <c:pt idx="5571">
                  <c:v>0.91480263157894737</c:v>
                </c:pt>
                <c:pt idx="5572">
                  <c:v>0.87091913611250626</c:v>
                </c:pt>
                <c:pt idx="5573">
                  <c:v>0.7094178082191781</c:v>
                </c:pt>
                <c:pt idx="5574">
                  <c:v>0.58613465848192536</c:v>
                </c:pt>
                <c:pt idx="5575">
                  <c:v>0.56459341112817807</c:v>
                </c:pt>
                <c:pt idx="5576">
                  <c:v>0.56979738049927231</c:v>
                </c:pt>
                <c:pt idx="5577">
                  <c:v>0.56997333100161762</c:v>
                </c:pt>
                <c:pt idx="5578">
                  <c:v>0.58639798488664985</c:v>
                </c:pt>
                <c:pt idx="5579">
                  <c:v>0.61332350049164208</c:v>
                </c:pt>
                <c:pt idx="5580">
                  <c:v>0.62033041961950319</c:v>
                </c:pt>
                <c:pt idx="5581">
                  <c:v>0.61676510676965013</c:v>
                </c:pt>
                <c:pt idx="5582">
                  <c:v>0.63610809278594049</c:v>
                </c:pt>
                <c:pt idx="5583">
                  <c:v>0.65567502986857829</c:v>
                </c:pt>
                <c:pt idx="5584">
                  <c:v>0.60404259158996576</c:v>
                </c:pt>
                <c:pt idx="5585">
                  <c:v>0.58436043022665374</c:v>
                </c:pt>
                <c:pt idx="5586">
                  <c:v>0.60954024944688912</c:v>
                </c:pt>
                <c:pt idx="5587">
                  <c:v>0.56828328698624897</c:v>
                </c:pt>
                <c:pt idx="5588">
                  <c:v>0.54410719456656231</c:v>
                </c:pt>
                <c:pt idx="5589">
                  <c:v>0.59109882833865912</c:v>
                </c:pt>
                <c:pt idx="5590">
                  <c:v>0.61302804515365672</c:v>
                </c:pt>
                <c:pt idx="5591">
                  <c:v>0.62943607610069352</c:v>
                </c:pt>
                <c:pt idx="5592">
                  <c:v>0.64559843499911074</c:v>
                </c:pt>
                <c:pt idx="5593">
                  <c:v>0.64329696445932805</c:v>
                </c:pt>
                <c:pt idx="5594">
                  <c:v>0.6442924173501916</c:v>
                </c:pt>
                <c:pt idx="5595">
                  <c:v>0.63119420819568428</c:v>
                </c:pt>
                <c:pt idx="5596">
                  <c:v>0.53212180746561888</c:v>
                </c:pt>
                <c:pt idx="5597">
                  <c:v>0.42353603603603607</c:v>
                </c:pt>
                <c:pt idx="5598">
                  <c:v>0.3001239579029239</c:v>
                </c:pt>
                <c:pt idx="5599">
                  <c:v>0.24974784522281315</c:v>
                </c:pt>
                <c:pt idx="5600">
                  <c:v>0.24390629588632617</c:v>
                </c:pt>
                <c:pt idx="5601">
                  <c:v>0.20540744355232221</c:v>
                </c:pt>
                <c:pt idx="5602">
                  <c:v>0.19868611513194523</c:v>
                </c:pt>
                <c:pt idx="5603">
                  <c:v>0.21142201112036563</c:v>
                </c:pt>
                <c:pt idx="5604">
                  <c:v>0.20511493994331728</c:v>
                </c:pt>
                <c:pt idx="5605">
                  <c:v>0.19918727027829145</c:v>
                </c:pt>
                <c:pt idx="5606">
                  <c:v>0.20060574511381382</c:v>
                </c:pt>
                <c:pt idx="5607">
                  <c:v>0.20697891041104396</c:v>
                </c:pt>
                <c:pt idx="5608">
                  <c:v>0.18751713424106736</c:v>
                </c:pt>
                <c:pt idx="5609">
                  <c:v>0.15353795688847235</c:v>
                </c:pt>
                <c:pt idx="5610">
                  <c:v>0.11011750794471954</c:v>
                </c:pt>
                <c:pt idx="5611">
                  <c:v>0.10010747735298633</c:v>
                </c:pt>
                <c:pt idx="5612">
                  <c:v>8.8292147745676813E-2</c:v>
                </c:pt>
                <c:pt idx="5613">
                  <c:v>7.6559951935456186E-2</c:v>
                </c:pt>
                <c:pt idx="5614">
                  <c:v>8.4780323063688795E-2</c:v>
                </c:pt>
                <c:pt idx="5615">
                  <c:v>8.7338026731966112E-2</c:v>
                </c:pt>
                <c:pt idx="5616">
                  <c:v>9.6253092965712272E-2</c:v>
                </c:pt>
                <c:pt idx="5617">
                  <c:v>9.0889511091966399E-2</c:v>
                </c:pt>
                <c:pt idx="5618">
                  <c:v>8.4940427206697922E-2</c:v>
                </c:pt>
                <c:pt idx="5619">
                  <c:v>7.2794657529457005E-2</c:v>
                </c:pt>
                <c:pt idx="5620">
                  <c:v>5.1734254792019818E-2</c:v>
                </c:pt>
                <c:pt idx="5621">
                  <c:v>3.0995335244197151E-2</c:v>
                </c:pt>
                <c:pt idx="5622">
                  <c:v>2.1300530679122544E-2</c:v>
                </c:pt>
                <c:pt idx="5623">
                  <c:v>1.6633399866932803E-2</c:v>
                </c:pt>
                <c:pt idx="5624">
                  <c:v>1.5177944407946899E-2</c:v>
                </c:pt>
                <c:pt idx="5625">
                  <c:v>1.6905418631550848E-2</c:v>
                </c:pt>
                <c:pt idx="5626">
                  <c:v>1.5579880464710226E-2</c:v>
                </c:pt>
                <c:pt idx="5627">
                  <c:v>1.7675852066715014E-2</c:v>
                </c:pt>
                <c:pt idx="5628">
                  <c:v>1.8271527058081376E-2</c:v>
                </c:pt>
                <c:pt idx="5629">
                  <c:v>2.0093447188528554E-2</c:v>
                </c:pt>
                <c:pt idx="5630">
                  <c:v>2.2409164988975171E-2</c:v>
                </c:pt>
                <c:pt idx="5631">
                  <c:v>2.238624775409119E-2</c:v>
                </c:pt>
                <c:pt idx="5632">
                  <c:v>2.1039661505556331E-2</c:v>
                </c:pt>
                <c:pt idx="5633">
                  <c:v>2.1401285975277004E-2</c:v>
                </c:pt>
                <c:pt idx="5634">
                  <c:v>2.2679337981687794E-2</c:v>
                </c:pt>
                <c:pt idx="5635">
                  <c:v>3.8810921153355452E-2</c:v>
                </c:pt>
                <c:pt idx="5636">
                  <c:v>6.1419448626758737E-2</c:v>
                </c:pt>
                <c:pt idx="5637">
                  <c:v>0.1112379104733103</c:v>
                </c:pt>
                <c:pt idx="5638">
                  <c:v>0.19242822322813463</c:v>
                </c:pt>
                <c:pt idx="5639">
                  <c:v>0.27158187869320111</c:v>
                </c:pt>
                <c:pt idx="5640">
                  <c:v>0.32511337868480733</c:v>
                </c:pt>
                <c:pt idx="5641">
                  <c:v>0.35708361879349509</c:v>
                </c:pt>
                <c:pt idx="5642">
                  <c:v>0.36615440245886821</c:v>
                </c:pt>
                <c:pt idx="5643">
                  <c:v>0.35051691398832546</c:v>
                </c:pt>
                <c:pt idx="5644">
                  <c:v>0.32873225648556043</c:v>
                </c:pt>
                <c:pt idx="5645">
                  <c:v>0.29318799562866033</c:v>
                </c:pt>
                <c:pt idx="5646">
                  <c:v>0.24998785995241102</c:v>
                </c:pt>
                <c:pt idx="5647">
                  <c:v>0.21739031235027037</c:v>
                </c:pt>
                <c:pt idx="5648">
                  <c:v>0.19230338462916918</c:v>
                </c:pt>
                <c:pt idx="5649">
                  <c:v>0.22087410592829873</c:v>
                </c:pt>
                <c:pt idx="5650">
                  <c:v>0.22176861789688548</c:v>
                </c:pt>
                <c:pt idx="5651">
                  <c:v>0.26398864946350975</c:v>
                </c:pt>
                <c:pt idx="5652">
                  <c:v>0.3049481652496282</c:v>
                </c:pt>
                <c:pt idx="5653">
                  <c:v>0.34429151624548737</c:v>
                </c:pt>
                <c:pt idx="5654">
                  <c:v>0.40785449490268766</c:v>
                </c:pt>
                <c:pt idx="5655">
                  <c:v>0.49209147100989453</c:v>
                </c:pt>
                <c:pt idx="5656">
                  <c:v>0.52812822700130191</c:v>
                </c:pt>
                <c:pt idx="5657">
                  <c:v>0.52960760452781674</c:v>
                </c:pt>
                <c:pt idx="5658">
                  <c:v>0.52668314672095384</c:v>
                </c:pt>
                <c:pt idx="5659">
                  <c:v>0.57987008101126136</c:v>
                </c:pt>
                <c:pt idx="5660">
                  <c:v>0.5980587994263471</c:v>
                </c:pt>
                <c:pt idx="5661">
                  <c:v>0.62550573162508427</c:v>
                </c:pt>
                <c:pt idx="5662">
                  <c:v>0.6585944326550992</c:v>
                </c:pt>
                <c:pt idx="5663">
                  <c:v>0.72229849646720012</c:v>
                </c:pt>
                <c:pt idx="5664">
                  <c:v>0.72754952054315114</c:v>
                </c:pt>
                <c:pt idx="5665">
                  <c:v>0.72610169491525423</c:v>
                </c:pt>
                <c:pt idx="5666">
                  <c:v>0.72115694777964945</c:v>
                </c:pt>
                <c:pt idx="5667">
                  <c:v>0.67782514501362767</c:v>
                </c:pt>
                <c:pt idx="5668">
                  <c:v>0.61837191934279323</c:v>
                </c:pt>
                <c:pt idx="5669">
                  <c:v>0.53542691104157347</c:v>
                </c:pt>
                <c:pt idx="5670">
                  <c:v>0.45733565520243796</c:v>
                </c:pt>
                <c:pt idx="5671">
                  <c:v>0.4673927966683446</c:v>
                </c:pt>
                <c:pt idx="5672">
                  <c:v>0.52796895096689767</c:v>
                </c:pt>
                <c:pt idx="5673">
                  <c:v>0.55760256552029186</c:v>
                </c:pt>
                <c:pt idx="5674">
                  <c:v>0.5846796719626377</c:v>
                </c:pt>
                <c:pt idx="5675">
                  <c:v>0.59348493879235242</c:v>
                </c:pt>
                <c:pt idx="5676">
                  <c:v>0.5856345820244736</c:v>
                </c:pt>
                <c:pt idx="5677">
                  <c:v>0.61199534161490676</c:v>
                </c:pt>
                <c:pt idx="5678">
                  <c:v>0.59707719210592058</c:v>
                </c:pt>
                <c:pt idx="5679">
                  <c:v>0.54499228414581702</c:v>
                </c:pt>
                <c:pt idx="5680">
                  <c:v>0.46771764477263894</c:v>
                </c:pt>
                <c:pt idx="5681">
                  <c:v>0.41487832680775133</c:v>
                </c:pt>
                <c:pt idx="5682">
                  <c:v>0.34034773916931904</c:v>
                </c:pt>
                <c:pt idx="5683">
                  <c:v>0.26313474280372801</c:v>
                </c:pt>
                <c:pt idx="5684">
                  <c:v>0.23553325109341705</c:v>
                </c:pt>
                <c:pt idx="5685">
                  <c:v>0.22238747078641458</c:v>
                </c:pt>
                <c:pt idx="5686">
                  <c:v>0.20119653599524032</c:v>
                </c:pt>
                <c:pt idx="5687">
                  <c:v>0.18888575060019774</c:v>
                </c:pt>
                <c:pt idx="5688">
                  <c:v>0.17845617419043736</c:v>
                </c:pt>
                <c:pt idx="5689">
                  <c:v>0.17434476388407805</c:v>
                </c:pt>
                <c:pt idx="5690">
                  <c:v>0.13557146191550612</c:v>
                </c:pt>
                <c:pt idx="5691">
                  <c:v>0.12085474077533863</c:v>
                </c:pt>
                <c:pt idx="5692">
                  <c:v>0.10191325558350482</c:v>
                </c:pt>
                <c:pt idx="5693">
                  <c:v>0.10663385248310313</c:v>
                </c:pt>
                <c:pt idx="5694">
                  <c:v>9.3004769475357726E-2</c:v>
                </c:pt>
                <c:pt idx="5695">
                  <c:v>6.824802330420307E-2</c:v>
                </c:pt>
                <c:pt idx="5696">
                  <c:v>5.5908477625365417E-2</c:v>
                </c:pt>
                <c:pt idx="5697">
                  <c:v>6.2563095140651004E-2</c:v>
                </c:pt>
                <c:pt idx="5698">
                  <c:v>5.9813084112149528E-2</c:v>
                </c:pt>
                <c:pt idx="5699">
                  <c:v>5.0543432706546335E-2</c:v>
                </c:pt>
                <c:pt idx="5700">
                  <c:v>3.6282011463421519E-2</c:v>
                </c:pt>
                <c:pt idx="5701">
                  <c:v>2.8726193563258135E-2</c:v>
                </c:pt>
                <c:pt idx="5702">
                  <c:v>3.6733269348224414E-2</c:v>
                </c:pt>
                <c:pt idx="5703">
                  <c:v>3.9888153389637068E-2</c:v>
                </c:pt>
                <c:pt idx="5704">
                  <c:v>3.1329906064113261E-2</c:v>
                </c:pt>
                <c:pt idx="5705">
                  <c:v>2.9189014365415197E-2</c:v>
                </c:pt>
                <c:pt idx="5706">
                  <c:v>2.604417046065096E-2</c:v>
                </c:pt>
                <c:pt idx="5707">
                  <c:v>3.6739815571378544E-2</c:v>
                </c:pt>
                <c:pt idx="5708">
                  <c:v>6.1169021235924839E-2</c:v>
                </c:pt>
                <c:pt idx="5709">
                  <c:v>9.4868203234432708E-2</c:v>
                </c:pt>
                <c:pt idx="5710">
                  <c:v>0.10328380743231651</c:v>
                </c:pt>
                <c:pt idx="5711">
                  <c:v>3.785938986026776E-2</c:v>
                </c:pt>
                <c:pt idx="5712">
                  <c:v>2.3722488767039831E-2</c:v>
                </c:pt>
                <c:pt idx="5713">
                  <c:v>2.8465298142717498E-2</c:v>
                </c:pt>
                <c:pt idx="5714">
                  <c:v>4.0200806387856745E-2</c:v>
                </c:pt>
                <c:pt idx="5715">
                  <c:v>7.1891550075092889E-2</c:v>
                </c:pt>
                <c:pt idx="5716">
                  <c:v>9.4432973625774269E-2</c:v>
                </c:pt>
                <c:pt idx="5717">
                  <c:v>0.10555747060400629</c:v>
                </c:pt>
                <c:pt idx="5718">
                  <c:v>0.10239767326381499</c:v>
                </c:pt>
                <c:pt idx="5719">
                  <c:v>0.12400216264351364</c:v>
                </c:pt>
                <c:pt idx="5720">
                  <c:v>0.14770995787398045</c:v>
                </c:pt>
                <c:pt idx="5721">
                  <c:v>0.17457064511473516</c:v>
                </c:pt>
                <c:pt idx="5722">
                  <c:v>0.22817070041905413</c:v>
                </c:pt>
                <c:pt idx="5723">
                  <c:v>0.2390523016762989</c:v>
                </c:pt>
                <c:pt idx="5724">
                  <c:v>0.23124445842748045</c:v>
                </c:pt>
                <c:pt idx="5725">
                  <c:v>0.21359588248901226</c:v>
                </c:pt>
                <c:pt idx="5726">
                  <c:v>0.18032212885154061</c:v>
                </c:pt>
                <c:pt idx="5727">
                  <c:v>0.15129728040012505</c:v>
                </c:pt>
                <c:pt idx="5728">
                  <c:v>0.12494423304028343</c:v>
                </c:pt>
                <c:pt idx="5729">
                  <c:v>9.7875231947312027E-2</c:v>
                </c:pt>
                <c:pt idx="5730">
                  <c:v>6.4336275929924289E-2</c:v>
                </c:pt>
                <c:pt idx="5731">
                  <c:v>4.4981734013776184E-2</c:v>
                </c:pt>
                <c:pt idx="5732">
                  <c:v>4.1988569459203304E-2</c:v>
                </c:pt>
                <c:pt idx="5733">
                  <c:v>4.6860326801477482E-2</c:v>
                </c:pt>
                <c:pt idx="5734">
                  <c:v>5.1609606540623403E-2</c:v>
                </c:pt>
                <c:pt idx="5735">
                  <c:v>5.5837932036015107E-2</c:v>
                </c:pt>
                <c:pt idx="5736">
                  <c:v>5.188077182971694E-2</c:v>
                </c:pt>
                <c:pt idx="5737">
                  <c:v>3.9705826315588916E-2</c:v>
                </c:pt>
                <c:pt idx="5738">
                  <c:v>3.6411368565232277E-2</c:v>
                </c:pt>
                <c:pt idx="5739">
                  <c:v>3.1315779755530113E-2</c:v>
                </c:pt>
                <c:pt idx="5740">
                  <c:v>2.3507588532883643E-2</c:v>
                </c:pt>
                <c:pt idx="5741">
                  <c:v>1.6749219801299856E-2</c:v>
                </c:pt>
                <c:pt idx="5742">
                  <c:v>1.4488825370228914E-2</c:v>
                </c:pt>
                <c:pt idx="5743">
                  <c:v>1.1730747026902206E-2</c:v>
                </c:pt>
                <c:pt idx="5744">
                  <c:v>1.3630899730103648E-2</c:v>
                </c:pt>
                <c:pt idx="5745">
                  <c:v>2.6717811135008089E-2</c:v>
                </c:pt>
                <c:pt idx="5746">
                  <c:v>4.362006611790286E-2</c:v>
                </c:pt>
                <c:pt idx="5747">
                  <c:v>7.3033454905668885E-2</c:v>
                </c:pt>
                <c:pt idx="5748">
                  <c:v>9.9257531235279597E-2</c:v>
                </c:pt>
                <c:pt idx="5749">
                  <c:v>0.11581591869361653</c:v>
                </c:pt>
                <c:pt idx="5750">
                  <c:v>0.12146879288316849</c:v>
                </c:pt>
                <c:pt idx="5751">
                  <c:v>0.1173773936297216</c:v>
                </c:pt>
                <c:pt idx="5752">
                  <c:v>0.10053342412892974</c:v>
                </c:pt>
                <c:pt idx="5753">
                  <c:v>9.3590365901578709E-2</c:v>
                </c:pt>
                <c:pt idx="5754">
                  <c:v>7.8333738158853528E-2</c:v>
                </c:pt>
                <c:pt idx="5755">
                  <c:v>8.1684539092785585E-2</c:v>
                </c:pt>
                <c:pt idx="5756">
                  <c:v>0.10569445169372096</c:v>
                </c:pt>
                <c:pt idx="5757">
                  <c:v>0.14964814016946718</c:v>
                </c:pt>
                <c:pt idx="5758">
                  <c:v>0.21202662674777847</c:v>
                </c:pt>
                <c:pt idx="5759">
                  <c:v>0.26794569269176838</c:v>
                </c:pt>
                <c:pt idx="5760">
                  <c:v>0.31572749009671314</c:v>
                </c:pt>
                <c:pt idx="5761">
                  <c:v>0.31813373217086782</c:v>
                </c:pt>
                <c:pt idx="5762">
                  <c:v>0.35174418604651164</c:v>
                </c:pt>
                <c:pt idx="5763">
                  <c:v>0.40097097700131124</c:v>
                </c:pt>
                <c:pt idx="5764">
                  <c:v>0.4174954200471081</c:v>
                </c:pt>
                <c:pt idx="5765">
                  <c:v>0.35590428056850865</c:v>
                </c:pt>
                <c:pt idx="5766">
                  <c:v>0.28474527348823786</c:v>
                </c:pt>
                <c:pt idx="5767">
                  <c:v>0.2377974167233175</c:v>
                </c:pt>
                <c:pt idx="5768">
                  <c:v>0.22170812937258322</c:v>
                </c:pt>
                <c:pt idx="5769">
                  <c:v>0.24637458590202055</c:v>
                </c:pt>
                <c:pt idx="5770">
                  <c:v>0.27199418335646769</c:v>
                </c:pt>
                <c:pt idx="5771">
                  <c:v>0.31520909131743247</c:v>
                </c:pt>
                <c:pt idx="5772">
                  <c:v>0.34794844877264303</c:v>
                </c:pt>
                <c:pt idx="5773">
                  <c:v>0.37955210673201278</c:v>
                </c:pt>
                <c:pt idx="5774">
                  <c:v>0.39860057761393791</c:v>
                </c:pt>
                <c:pt idx="5775">
                  <c:v>0.3743666240469764</c:v>
                </c:pt>
                <c:pt idx="5776">
                  <c:v>0.34242582936769966</c:v>
                </c:pt>
                <c:pt idx="5777">
                  <c:v>0.30983492211113695</c:v>
                </c:pt>
                <c:pt idx="5778">
                  <c:v>0.2646344425552587</c:v>
                </c:pt>
                <c:pt idx="5779">
                  <c:v>0.21203903242209254</c:v>
                </c:pt>
                <c:pt idx="5780">
                  <c:v>0.18867146208781294</c:v>
                </c:pt>
                <c:pt idx="5781">
                  <c:v>0.17426174686844642</c:v>
                </c:pt>
                <c:pt idx="5782">
                  <c:v>0.16111093557458372</c:v>
                </c:pt>
                <c:pt idx="5783">
                  <c:v>0.19537309893980961</c:v>
                </c:pt>
                <c:pt idx="5784">
                  <c:v>0.22336842851572197</c:v>
                </c:pt>
                <c:pt idx="5785">
                  <c:v>0.16395800373939307</c:v>
                </c:pt>
                <c:pt idx="5786">
                  <c:v>0.11128295507679026</c:v>
                </c:pt>
                <c:pt idx="5787">
                  <c:v>8.3236628336322407E-2</c:v>
                </c:pt>
                <c:pt idx="5788">
                  <c:v>5.2687823834196887E-2</c:v>
                </c:pt>
                <c:pt idx="5789">
                  <c:v>3.1747340644842088E-2</c:v>
                </c:pt>
                <c:pt idx="5790">
                  <c:v>1.9791343376226518E-2</c:v>
                </c:pt>
                <c:pt idx="5791">
                  <c:v>1.2792700109587815E-2</c:v>
                </c:pt>
                <c:pt idx="5792">
                  <c:v>1.406988558554579E-2</c:v>
                </c:pt>
                <c:pt idx="5793">
                  <c:v>1.3174065848767763E-2</c:v>
                </c:pt>
                <c:pt idx="5794">
                  <c:v>1.0701035791640754E-2</c:v>
                </c:pt>
                <c:pt idx="5795">
                  <c:v>2.0450833061091148E-2</c:v>
                </c:pt>
                <c:pt idx="5796">
                  <c:v>3.5873759049724716E-2</c:v>
                </c:pt>
                <c:pt idx="5797">
                  <c:v>6.0706695005313505E-2</c:v>
                </c:pt>
                <c:pt idx="5798">
                  <c:v>8.6217963412956775E-2</c:v>
                </c:pt>
                <c:pt idx="5799">
                  <c:v>0.12542911780291688</c:v>
                </c:pt>
                <c:pt idx="5800">
                  <c:v>0.14501656391917683</c:v>
                </c:pt>
                <c:pt idx="5801">
                  <c:v>0.15528609492841983</c:v>
                </c:pt>
                <c:pt idx="5802">
                  <c:v>0.18403722261989977</c:v>
                </c:pt>
                <c:pt idx="5803">
                  <c:v>0.22049466465301673</c:v>
                </c:pt>
                <c:pt idx="5804">
                  <c:v>0.22987121767354204</c:v>
                </c:pt>
                <c:pt idx="5805">
                  <c:v>0.24878906700495909</c:v>
                </c:pt>
                <c:pt idx="5806">
                  <c:v>0.25906930197648231</c:v>
                </c:pt>
                <c:pt idx="5807">
                  <c:v>0.26834200842091299</c:v>
                </c:pt>
                <c:pt idx="5808">
                  <c:v>0.30290471130003538</c:v>
                </c:pt>
                <c:pt idx="5809">
                  <c:v>0.31476423231742379</c:v>
                </c:pt>
                <c:pt idx="5810">
                  <c:v>0.35735725005359825</c:v>
                </c:pt>
                <c:pt idx="5811">
                  <c:v>0.36947523502174823</c:v>
                </c:pt>
                <c:pt idx="5812">
                  <c:v>0.293878744557801</c:v>
                </c:pt>
                <c:pt idx="5813">
                  <c:v>0.2161726979968342</c:v>
                </c:pt>
                <c:pt idx="5814">
                  <c:v>0.16617612152860192</c:v>
                </c:pt>
                <c:pt idx="5815">
                  <c:v>0.12684405223514733</c:v>
                </c:pt>
                <c:pt idx="5816">
                  <c:v>0.12740437519257009</c:v>
                </c:pt>
                <c:pt idx="5817">
                  <c:v>0.17049393414211439</c:v>
                </c:pt>
                <c:pt idx="5818">
                  <c:v>0.2081218274111675</c:v>
                </c:pt>
                <c:pt idx="5819">
                  <c:v>0.21182112882454815</c:v>
                </c:pt>
                <c:pt idx="5820">
                  <c:v>0.24924831288001961</c:v>
                </c:pt>
                <c:pt idx="5821">
                  <c:v>0.28665939162460785</c:v>
                </c:pt>
                <c:pt idx="5822">
                  <c:v>0.29604904954667044</c:v>
                </c:pt>
                <c:pt idx="5823">
                  <c:v>0.33659762959415779</c:v>
                </c:pt>
                <c:pt idx="5824">
                  <c:v>0.3447108408761142</c:v>
                </c:pt>
                <c:pt idx="5825">
                  <c:v>0.37746984254384924</c:v>
                </c:pt>
                <c:pt idx="5826">
                  <c:v>0.36034973966008443</c:v>
                </c:pt>
                <c:pt idx="5827">
                  <c:v>0.36332997987927568</c:v>
                </c:pt>
                <c:pt idx="5828">
                  <c:v>0.35371521069395861</c:v>
                </c:pt>
                <c:pt idx="5829">
                  <c:v>0.36473319195277132</c:v>
                </c:pt>
                <c:pt idx="5830">
                  <c:v>0.43598648993117523</c:v>
                </c:pt>
                <c:pt idx="5831">
                  <c:v>0.45038764961915123</c:v>
                </c:pt>
                <c:pt idx="5832">
                  <c:v>0.45037047642910838</c:v>
                </c:pt>
                <c:pt idx="5833">
                  <c:v>0.42113547347999558</c:v>
                </c:pt>
                <c:pt idx="5834">
                  <c:v>0.35382096069868996</c:v>
                </c:pt>
                <c:pt idx="5835">
                  <c:v>0.27860199714693296</c:v>
                </c:pt>
                <c:pt idx="5836">
                  <c:v>0.2286708466007944</c:v>
                </c:pt>
                <c:pt idx="5837">
                  <c:v>0.16529339717180716</c:v>
                </c:pt>
                <c:pt idx="5838">
                  <c:v>0.11687902717891575</c:v>
                </c:pt>
                <c:pt idx="5839">
                  <c:v>8.579051474308845E-2</c:v>
                </c:pt>
                <c:pt idx="5840">
                  <c:v>8.1918515641066669E-2</c:v>
                </c:pt>
                <c:pt idx="5841">
                  <c:v>0.10084959093769666</c:v>
                </c:pt>
                <c:pt idx="5842">
                  <c:v>9.5331929061629406E-2</c:v>
                </c:pt>
                <c:pt idx="5843">
                  <c:v>9.4836645571098291E-2</c:v>
                </c:pt>
                <c:pt idx="5844">
                  <c:v>9.1478756230714456E-2</c:v>
                </c:pt>
                <c:pt idx="5845">
                  <c:v>9.8025970126848314E-2</c:v>
                </c:pt>
                <c:pt idx="5846">
                  <c:v>0.11177696046912375</c:v>
                </c:pt>
                <c:pt idx="5847">
                  <c:v>0.10682461746291534</c:v>
                </c:pt>
                <c:pt idx="5848">
                  <c:v>9.4424912104470113E-2</c:v>
                </c:pt>
                <c:pt idx="5849">
                  <c:v>9.3889226407452425E-2</c:v>
                </c:pt>
                <c:pt idx="5850">
                  <c:v>8.1879948641129893E-2</c:v>
                </c:pt>
                <c:pt idx="5851">
                  <c:v>8.2914089347079042E-2</c:v>
                </c:pt>
                <c:pt idx="5852">
                  <c:v>9.5092111612591915E-2</c:v>
                </c:pt>
                <c:pt idx="5853">
                  <c:v>9.4247923715779766E-2</c:v>
                </c:pt>
                <c:pt idx="5854">
                  <c:v>8.1155157430309516E-2</c:v>
                </c:pt>
                <c:pt idx="5855">
                  <c:v>8.0134218501948323E-2</c:v>
                </c:pt>
                <c:pt idx="5856">
                  <c:v>8.6678101772441396E-2</c:v>
                </c:pt>
                <c:pt idx="5857">
                  <c:v>9.5676713832163987E-2</c:v>
                </c:pt>
                <c:pt idx="5858">
                  <c:v>0.11008773671046886</c:v>
                </c:pt>
                <c:pt idx="5859">
                  <c:v>0.12414447917078766</c:v>
                </c:pt>
                <c:pt idx="5860">
                  <c:v>0.12797343219029966</c:v>
                </c:pt>
                <c:pt idx="5861">
                  <c:v>0.11799726361720221</c:v>
                </c:pt>
                <c:pt idx="5862">
                  <c:v>9.3928942169239527E-2</c:v>
                </c:pt>
                <c:pt idx="5863">
                  <c:v>6.5393026363746817E-2</c:v>
                </c:pt>
                <c:pt idx="5864">
                  <c:v>5.5345587814235812E-2</c:v>
                </c:pt>
                <c:pt idx="5865">
                  <c:v>5.6687456687456686E-2</c:v>
                </c:pt>
                <c:pt idx="5866">
                  <c:v>6.0623781676413253E-2</c:v>
                </c:pt>
                <c:pt idx="5867">
                  <c:v>5.097080478721893E-2</c:v>
                </c:pt>
                <c:pt idx="5868">
                  <c:v>5.3684301671140355E-2</c:v>
                </c:pt>
                <c:pt idx="5869">
                  <c:v>6.6389312082503218E-2</c:v>
                </c:pt>
                <c:pt idx="5870">
                  <c:v>8.1703451163347082E-2</c:v>
                </c:pt>
                <c:pt idx="5871">
                  <c:v>8.5957346251550784E-2</c:v>
                </c:pt>
                <c:pt idx="5872">
                  <c:v>9.0106154746315212E-2</c:v>
                </c:pt>
                <c:pt idx="5873">
                  <c:v>7.8307230923025647E-2</c:v>
                </c:pt>
                <c:pt idx="5874">
                  <c:v>6.196971013233718E-2</c:v>
                </c:pt>
                <c:pt idx="5875">
                  <c:v>5.2024482109227867E-2</c:v>
                </c:pt>
                <c:pt idx="5876">
                  <c:v>4.2205151378219619E-2</c:v>
                </c:pt>
                <c:pt idx="5877">
                  <c:v>3.9015703415897683E-2</c:v>
                </c:pt>
                <c:pt idx="5878">
                  <c:v>3.5123822811301011E-2</c:v>
                </c:pt>
                <c:pt idx="5879">
                  <c:v>3.0564087197542888E-2</c:v>
                </c:pt>
                <c:pt idx="5880">
                  <c:v>2.8718270626544778E-2</c:v>
                </c:pt>
                <c:pt idx="5881">
                  <c:v>2.4054706355591312E-2</c:v>
                </c:pt>
                <c:pt idx="5882">
                  <c:v>2.1152443471918306E-2</c:v>
                </c:pt>
                <c:pt idx="5883">
                  <c:v>2.2844688408136908E-2</c:v>
                </c:pt>
                <c:pt idx="5884">
                  <c:v>2.5568181818181816E-2</c:v>
                </c:pt>
                <c:pt idx="5885">
                  <c:v>1.2796372439764822E-2</c:v>
                </c:pt>
                <c:pt idx="5886">
                  <c:v>9.854478666289912E-3</c:v>
                </c:pt>
                <c:pt idx="5887">
                  <c:v>9.9581377648103511E-3</c:v>
                </c:pt>
                <c:pt idx="5888">
                  <c:v>8.7411547838496771E-3</c:v>
                </c:pt>
                <c:pt idx="5889">
                  <c:v>1.3846198040849156E-2</c:v>
                </c:pt>
                <c:pt idx="5890">
                  <c:v>2.0923975269063429E-2</c:v>
                </c:pt>
                <c:pt idx="5891">
                  <c:v>2.8389523947330342E-2</c:v>
                </c:pt>
                <c:pt idx="5892">
                  <c:v>3.6616235945134516E-2</c:v>
                </c:pt>
                <c:pt idx="5893">
                  <c:v>4.6416382252559729E-2</c:v>
                </c:pt>
                <c:pt idx="5894">
                  <c:v>5.4086110781639191E-2</c:v>
                </c:pt>
                <c:pt idx="5895">
                  <c:v>6.3111730707792399E-2</c:v>
                </c:pt>
                <c:pt idx="5896">
                  <c:v>7.03861517976032E-2</c:v>
                </c:pt>
                <c:pt idx="5897">
                  <c:v>5.8567639257294427E-2</c:v>
                </c:pt>
                <c:pt idx="5898">
                  <c:v>4.998336660013307E-2</c:v>
                </c:pt>
                <c:pt idx="5899">
                  <c:v>6.1792742070349523E-2</c:v>
                </c:pt>
                <c:pt idx="5900">
                  <c:v>7.803560537856126E-2</c:v>
                </c:pt>
                <c:pt idx="5901">
                  <c:v>0.10713492592240094</c:v>
                </c:pt>
                <c:pt idx="5902">
                  <c:v>0.10753995830437804</c:v>
                </c:pt>
                <c:pt idx="5903">
                  <c:v>0.10797152237264376</c:v>
                </c:pt>
                <c:pt idx="5904">
                  <c:v>0.10619401562797789</c:v>
                </c:pt>
                <c:pt idx="5905">
                  <c:v>9.8890010090817368E-2</c:v>
                </c:pt>
                <c:pt idx="5906">
                  <c:v>0.13281610078353051</c:v>
                </c:pt>
                <c:pt idx="5907">
                  <c:v>0.14901593252108716</c:v>
                </c:pt>
                <c:pt idx="5908">
                  <c:v>0.18228792389556173</c:v>
                </c:pt>
                <c:pt idx="5909">
                  <c:v>0.17055214723926382</c:v>
                </c:pt>
                <c:pt idx="5910">
                  <c:v>0.16810737593892375</c:v>
                </c:pt>
                <c:pt idx="5911">
                  <c:v>0.15982357288010346</c:v>
                </c:pt>
                <c:pt idx="5912">
                  <c:v>0.14422924093458367</c:v>
                </c:pt>
                <c:pt idx="5913">
                  <c:v>0.13749361295625709</c:v>
                </c:pt>
                <c:pt idx="5914">
                  <c:v>0.13390034287749925</c:v>
                </c:pt>
                <c:pt idx="5915">
                  <c:v>0.13971603903897103</c:v>
                </c:pt>
                <c:pt idx="5916">
                  <c:v>0.13053287009881334</c:v>
                </c:pt>
                <c:pt idx="5917">
                  <c:v>0.1338218013409829</c:v>
                </c:pt>
                <c:pt idx="5918">
                  <c:v>0.14353769181049961</c:v>
                </c:pt>
                <c:pt idx="5919">
                  <c:v>0.14602150537634406</c:v>
                </c:pt>
                <c:pt idx="5920">
                  <c:v>0.11774393683023124</c:v>
                </c:pt>
                <c:pt idx="5921">
                  <c:v>9.8671065470935362E-2</c:v>
                </c:pt>
                <c:pt idx="5922">
                  <c:v>8.9196133610669276E-2</c:v>
                </c:pt>
                <c:pt idx="5923">
                  <c:v>7.9286645931574196E-2</c:v>
                </c:pt>
                <c:pt idx="5924">
                  <c:v>6.2562987322972469E-2</c:v>
                </c:pt>
                <c:pt idx="5925">
                  <c:v>6.2662120019818718E-2</c:v>
                </c:pt>
                <c:pt idx="5926">
                  <c:v>6.994634430150623E-2</c:v>
                </c:pt>
                <c:pt idx="5927">
                  <c:v>6.4052378148058337E-2</c:v>
                </c:pt>
                <c:pt idx="5928">
                  <c:v>6.8979251910055411E-2</c:v>
                </c:pt>
                <c:pt idx="5929">
                  <c:v>7.9277749058415184E-2</c:v>
                </c:pt>
                <c:pt idx="5930">
                  <c:v>7.8985213319075182E-2</c:v>
                </c:pt>
                <c:pt idx="5931">
                  <c:v>8.5871282861657808E-2</c:v>
                </c:pt>
                <c:pt idx="5932">
                  <c:v>8.105804844472124E-2</c:v>
                </c:pt>
                <c:pt idx="5933">
                  <c:v>8.4673304465344629E-2</c:v>
                </c:pt>
                <c:pt idx="5934">
                  <c:v>8.5177572773767987E-2</c:v>
                </c:pt>
                <c:pt idx="5935">
                  <c:v>8.3963571120347025E-2</c:v>
                </c:pt>
                <c:pt idx="5936">
                  <c:v>7.0796260840184713E-2</c:v>
                </c:pt>
                <c:pt idx="5937">
                  <c:v>6.6337005231903584E-2</c:v>
                </c:pt>
                <c:pt idx="5938">
                  <c:v>7.7616647049679105E-2</c:v>
                </c:pt>
                <c:pt idx="5939">
                  <c:v>9.2738922725111486E-2</c:v>
                </c:pt>
                <c:pt idx="5940">
                  <c:v>0.1115617747132653</c:v>
                </c:pt>
                <c:pt idx="5941">
                  <c:v>0.14708987423115763</c:v>
                </c:pt>
                <c:pt idx="5942">
                  <c:v>0.19969208905731881</c:v>
                </c:pt>
                <c:pt idx="5943">
                  <c:v>0.22542485838053986</c:v>
                </c:pt>
                <c:pt idx="5944">
                  <c:v>0.21755006690707851</c:v>
                </c:pt>
                <c:pt idx="5945">
                  <c:v>0.21247086516050123</c:v>
                </c:pt>
                <c:pt idx="5946">
                  <c:v>0.23554546990802208</c:v>
                </c:pt>
                <c:pt idx="5947">
                  <c:v>0.26878043980912086</c:v>
                </c:pt>
                <c:pt idx="5948">
                  <c:v>0.3201387793723387</c:v>
                </c:pt>
                <c:pt idx="5949">
                  <c:v>0.34323785299303411</c:v>
                </c:pt>
                <c:pt idx="5950">
                  <c:v>0.35598283807405051</c:v>
                </c:pt>
                <c:pt idx="5951">
                  <c:v>0.35169389922241634</c:v>
                </c:pt>
                <c:pt idx="5952">
                  <c:v>0.34387253154630359</c:v>
                </c:pt>
                <c:pt idx="5953">
                  <c:v>0.30131731325998845</c:v>
                </c:pt>
                <c:pt idx="5954">
                  <c:v>0.25029750099166997</c:v>
                </c:pt>
                <c:pt idx="5955">
                  <c:v>0.21134456743989283</c:v>
                </c:pt>
                <c:pt idx="5956">
                  <c:v>0.17927380294509637</c:v>
                </c:pt>
                <c:pt idx="5957">
                  <c:v>0.11719088937093276</c:v>
                </c:pt>
                <c:pt idx="5958">
                  <c:v>9.0414811342863832E-2</c:v>
                </c:pt>
                <c:pt idx="5959">
                  <c:v>7.5412603567382663E-2</c:v>
                </c:pt>
                <c:pt idx="5960">
                  <c:v>7.5471698113207544E-2</c:v>
                </c:pt>
                <c:pt idx="5961">
                  <c:v>9.8969870319791833E-2</c:v>
                </c:pt>
                <c:pt idx="5962">
                  <c:v>0.17236118274024409</c:v>
                </c:pt>
                <c:pt idx="5963">
                  <c:v>0.20769046112214395</c:v>
                </c:pt>
                <c:pt idx="5964">
                  <c:v>0.23766256136422359</c:v>
                </c:pt>
                <c:pt idx="5965">
                  <c:v>0.2582365929909709</c:v>
                </c:pt>
                <c:pt idx="5966">
                  <c:v>0.25996179039301309</c:v>
                </c:pt>
                <c:pt idx="5967">
                  <c:v>0.25639206171172207</c:v>
                </c:pt>
                <c:pt idx="5968">
                  <c:v>0.28093041472648944</c:v>
                </c:pt>
                <c:pt idx="5969">
                  <c:v>0.35882116902224792</c:v>
                </c:pt>
                <c:pt idx="5970">
                  <c:v>0.44312021045407751</c:v>
                </c:pt>
                <c:pt idx="5971">
                  <c:v>0.58690632067611004</c:v>
                </c:pt>
                <c:pt idx="5972">
                  <c:v>0.67796783775478842</c:v>
                </c:pt>
                <c:pt idx="5973">
                  <c:v>0.74990846875264017</c:v>
                </c:pt>
                <c:pt idx="5974">
                  <c:v>0.85549754299754299</c:v>
                </c:pt>
                <c:pt idx="5975">
                  <c:v>0.92501875346531426</c:v>
                </c:pt>
                <c:pt idx="5976">
                  <c:v>0.91809753321953347</c:v>
                </c:pt>
                <c:pt idx="5977">
                  <c:v>0.93143783858389984</c:v>
                </c:pt>
                <c:pt idx="5978">
                  <c:v>0.87139352475726484</c:v>
                </c:pt>
                <c:pt idx="5979">
                  <c:v>0.84736698685196532</c:v>
                </c:pt>
                <c:pt idx="5980">
                  <c:v>0.73649358504982332</c:v>
                </c:pt>
                <c:pt idx="5981">
                  <c:v>0.60757992344600786</c:v>
                </c:pt>
                <c:pt idx="5982">
                  <c:v>0.51682968592404943</c:v>
                </c:pt>
                <c:pt idx="5983">
                  <c:v>0.4541753792765939</c:v>
                </c:pt>
                <c:pt idx="5984">
                  <c:v>0.40403376082429027</c:v>
                </c:pt>
                <c:pt idx="5985">
                  <c:v>0.35970821712078949</c:v>
                </c:pt>
                <c:pt idx="5986">
                  <c:v>0.34080940342689225</c:v>
                </c:pt>
                <c:pt idx="5987">
                  <c:v>0.3344677674336905</c:v>
                </c:pt>
                <c:pt idx="5988">
                  <c:v>0.31942705243964059</c:v>
                </c:pt>
                <c:pt idx="5989">
                  <c:v>0.30604249222020735</c:v>
                </c:pt>
                <c:pt idx="5990">
                  <c:v>0.29445152322483492</c:v>
                </c:pt>
                <c:pt idx="5991">
                  <c:v>0.2747301218804411</c:v>
                </c:pt>
                <c:pt idx="5992">
                  <c:v>0.21554707604933887</c:v>
                </c:pt>
                <c:pt idx="5993">
                  <c:v>0.16028686484774446</c:v>
                </c:pt>
                <c:pt idx="5994">
                  <c:v>0.16119009509462387</c:v>
                </c:pt>
                <c:pt idx="5995">
                  <c:v>0.1722599418040737</c:v>
                </c:pt>
                <c:pt idx="5996">
                  <c:v>0.15926872522428545</c:v>
                </c:pt>
                <c:pt idx="5997">
                  <c:v>0.19751631356541238</c:v>
                </c:pt>
                <c:pt idx="5998">
                  <c:v>0.20398626740415793</c:v>
                </c:pt>
                <c:pt idx="5999">
                  <c:v>0.24601507900988057</c:v>
                </c:pt>
                <c:pt idx="6000">
                  <c:v>0.2905638870088697</c:v>
                </c:pt>
                <c:pt idx="6001">
                  <c:v>0.25901531967541208</c:v>
                </c:pt>
                <c:pt idx="6002">
                  <c:v>0.28174502021048037</c:v>
                </c:pt>
                <c:pt idx="6003">
                  <c:v>0.40204833794032174</c:v>
                </c:pt>
                <c:pt idx="6004">
                  <c:v>0.43785191212367774</c:v>
                </c:pt>
                <c:pt idx="6005">
                  <c:v>0.39317378297525157</c:v>
                </c:pt>
                <c:pt idx="6006">
                  <c:v>0.38037297891756561</c:v>
                </c:pt>
                <c:pt idx="6007">
                  <c:v>0.41096746823855135</c:v>
                </c:pt>
                <c:pt idx="6008">
                  <c:v>0.46181266090170964</c:v>
                </c:pt>
                <c:pt idx="6009">
                  <c:v>0.49092553122779831</c:v>
                </c:pt>
                <c:pt idx="6010">
                  <c:v>0.51293316964958746</c:v>
                </c:pt>
                <c:pt idx="6011">
                  <c:v>0.50673423123083083</c:v>
                </c:pt>
                <c:pt idx="6012">
                  <c:v>0.55873899356722478</c:v>
                </c:pt>
                <c:pt idx="6013">
                  <c:v>0.64056846314987625</c:v>
                </c:pt>
                <c:pt idx="6014">
                  <c:v>0.65700612837854333</c:v>
                </c:pt>
                <c:pt idx="6015">
                  <c:v>0.62942926697322155</c:v>
                </c:pt>
                <c:pt idx="6016">
                  <c:v>0.57411322527601594</c:v>
                </c:pt>
                <c:pt idx="6017">
                  <c:v>0.52835169054303743</c:v>
                </c:pt>
                <c:pt idx="6018">
                  <c:v>0.47070307547983059</c:v>
                </c:pt>
                <c:pt idx="6019">
                  <c:v>0.42451494493969583</c:v>
                </c:pt>
                <c:pt idx="6020">
                  <c:v>0.37957068003831201</c:v>
                </c:pt>
                <c:pt idx="6021">
                  <c:v>0.35181243157766701</c:v>
                </c:pt>
                <c:pt idx="6022">
                  <c:v>0.36261917372881358</c:v>
                </c:pt>
                <c:pt idx="6023">
                  <c:v>0.35931518502764787</c:v>
                </c:pt>
                <c:pt idx="6024">
                  <c:v>0.34538285798511309</c:v>
                </c:pt>
                <c:pt idx="6025">
                  <c:v>0.33853989813242785</c:v>
                </c:pt>
                <c:pt idx="6026">
                  <c:v>0.32598616705936007</c:v>
                </c:pt>
                <c:pt idx="6027">
                  <c:v>0.31255891113373296</c:v>
                </c:pt>
                <c:pt idx="6028">
                  <c:v>0.26792578356002361</c:v>
                </c:pt>
                <c:pt idx="6029">
                  <c:v>0.19843128904031798</c:v>
                </c:pt>
                <c:pt idx="6030">
                  <c:v>0.12959863476748382</c:v>
                </c:pt>
                <c:pt idx="6031">
                  <c:v>6.4187878607024559E-2</c:v>
                </c:pt>
                <c:pt idx="6032">
                  <c:v>2.8215720990360561E-2</c:v>
                </c:pt>
                <c:pt idx="6033">
                  <c:v>1.3426305715066995E-2</c:v>
                </c:pt>
                <c:pt idx="6034">
                  <c:v>3.6025519207275689E-2</c:v>
                </c:pt>
                <c:pt idx="6035">
                  <c:v>5.2969458558706224E-2</c:v>
                </c:pt>
                <c:pt idx="6036">
                  <c:v>7.4293427359374137E-2</c:v>
                </c:pt>
                <c:pt idx="6037">
                  <c:v>8.1419624217118999E-2</c:v>
                </c:pt>
                <c:pt idx="6038">
                  <c:v>8.863193089997215E-2</c:v>
                </c:pt>
                <c:pt idx="6039">
                  <c:v>6.6326810283396362E-2</c:v>
                </c:pt>
                <c:pt idx="6040">
                  <c:v>4.8662867163524769E-2</c:v>
                </c:pt>
                <c:pt idx="6041">
                  <c:v>7.3725142230805368E-2</c:v>
                </c:pt>
                <c:pt idx="6042">
                  <c:v>7.502549543838373E-2</c:v>
                </c:pt>
                <c:pt idx="6043">
                  <c:v>5.9273260734638615E-2</c:v>
                </c:pt>
                <c:pt idx="6044">
                  <c:v>8.7478405909334603E-2</c:v>
                </c:pt>
                <c:pt idx="6045">
                  <c:v>0.13103161397670549</c:v>
                </c:pt>
                <c:pt idx="6046">
                  <c:v>0.16138892705041902</c:v>
                </c:pt>
                <c:pt idx="6047">
                  <c:v>0.19377162629757783</c:v>
                </c:pt>
                <c:pt idx="6048">
                  <c:v>0.21143298570876787</c:v>
                </c:pt>
                <c:pt idx="6049">
                  <c:v>0.23296493599427526</c:v>
                </c:pt>
                <c:pt idx="6050">
                  <c:v>0.24998997955829894</c:v>
                </c:pt>
                <c:pt idx="6051">
                  <c:v>0.2936831177128254</c:v>
                </c:pt>
                <c:pt idx="6052">
                  <c:v>0.3168127053669223</c:v>
                </c:pt>
                <c:pt idx="6053">
                  <c:v>0.32803752458768348</c:v>
                </c:pt>
                <c:pt idx="6054">
                  <c:v>0.34668537355313928</c:v>
                </c:pt>
                <c:pt idx="6055">
                  <c:v>0.34669610471534462</c:v>
                </c:pt>
                <c:pt idx="6056">
                  <c:v>0.33901912673308304</c:v>
                </c:pt>
                <c:pt idx="6057">
                  <c:v>0.45136119796896068</c:v>
                </c:pt>
                <c:pt idx="6058">
                  <c:v>0.606964468157566</c:v>
                </c:pt>
                <c:pt idx="6059">
                  <c:v>0.63248423294291101</c:v>
                </c:pt>
                <c:pt idx="6060">
                  <c:v>0.69453455090636507</c:v>
                </c:pt>
                <c:pt idx="6061">
                  <c:v>0.68790791176713573</c:v>
                </c:pt>
                <c:pt idx="6062">
                  <c:v>0.76215945178004341</c:v>
                </c:pt>
                <c:pt idx="6063">
                  <c:v>0.72021130366816688</c:v>
                </c:pt>
                <c:pt idx="6064">
                  <c:v>0.6520047412904556</c:v>
                </c:pt>
                <c:pt idx="6065">
                  <c:v>0.58385253076566612</c:v>
                </c:pt>
                <c:pt idx="6066">
                  <c:v>0.56475091794484511</c:v>
                </c:pt>
                <c:pt idx="6067">
                  <c:v>0.66849300351838414</c:v>
                </c:pt>
                <c:pt idx="6068">
                  <c:v>0.74826452320058445</c:v>
                </c:pt>
                <c:pt idx="6069">
                  <c:v>0.82729494102386203</c:v>
                </c:pt>
                <c:pt idx="6070">
                  <c:v>1.0279151483602289</c:v>
                </c:pt>
                <c:pt idx="6071">
                  <c:v>1.0580566719578506</c:v>
                </c:pt>
                <c:pt idx="6072">
                  <c:v>1.0738932059599342</c:v>
                </c:pt>
                <c:pt idx="6073">
                  <c:v>1.1228057553956834</c:v>
                </c:pt>
                <c:pt idx="6074">
                  <c:v>1.1643621369921444</c:v>
                </c:pt>
                <c:pt idx="6075">
                  <c:v>1.1560208709886437</c:v>
                </c:pt>
                <c:pt idx="6076">
                  <c:v>1.1977627225460847</c:v>
                </c:pt>
                <c:pt idx="6077">
                  <c:v>0.98254396770896124</c:v>
                </c:pt>
                <c:pt idx="6078">
                  <c:v>0.82308365579509857</c:v>
                </c:pt>
                <c:pt idx="6079">
                  <c:v>0.76555738948119745</c:v>
                </c:pt>
                <c:pt idx="6080">
                  <c:v>0.70764726600334593</c:v>
                </c:pt>
                <c:pt idx="6081">
                  <c:v>0.65308641975308634</c:v>
                </c:pt>
                <c:pt idx="6082">
                  <c:v>0.61606816274716525</c:v>
                </c:pt>
                <c:pt idx="6083">
                  <c:v>0.64104331584096774</c:v>
                </c:pt>
                <c:pt idx="6084">
                  <c:v>0.63776827856443141</c:v>
                </c:pt>
                <c:pt idx="6085">
                  <c:v>0.68486542536405026</c:v>
                </c:pt>
                <c:pt idx="6086">
                  <c:v>0.71294716919410239</c:v>
                </c:pt>
                <c:pt idx="6087">
                  <c:v>0.73555765149728836</c:v>
                </c:pt>
                <c:pt idx="6088">
                  <c:v>0.66362503338377987</c:v>
                </c:pt>
                <c:pt idx="6089">
                  <c:v>0.62888859345918646</c:v>
                </c:pt>
                <c:pt idx="6090">
                  <c:v>0.65269335569063092</c:v>
                </c:pt>
                <c:pt idx="6091">
                  <c:v>0.67296913713887074</c:v>
                </c:pt>
                <c:pt idx="6092">
                  <c:v>0.73137925672523718</c:v>
                </c:pt>
                <c:pt idx="6093">
                  <c:v>0.8289276101430797</c:v>
                </c:pt>
                <c:pt idx="6094">
                  <c:v>0.95585352953986857</c:v>
                </c:pt>
                <c:pt idx="6095">
                  <c:v>1.0197125527426159</c:v>
                </c:pt>
                <c:pt idx="6096">
                  <c:v>1.0538300175937203</c:v>
                </c:pt>
                <c:pt idx="6097">
                  <c:v>1.0441862059509119</c:v>
                </c:pt>
                <c:pt idx="6098">
                  <c:v>1.007333036356783</c:v>
                </c:pt>
                <c:pt idx="6099">
                  <c:v>0.9393551430207876</c:v>
                </c:pt>
                <c:pt idx="6100">
                  <c:v>0.82672075041196602</c:v>
                </c:pt>
                <c:pt idx="6101">
                  <c:v>0.6936049649217485</c:v>
                </c:pt>
                <c:pt idx="6102">
                  <c:v>0.58151276364837445</c:v>
                </c:pt>
                <c:pt idx="6103">
                  <c:v>0.53178582620763759</c:v>
                </c:pt>
                <c:pt idx="6104">
                  <c:v>0.55437993210774583</c:v>
                </c:pt>
                <c:pt idx="6105">
                  <c:v>0.56713761746641489</c:v>
                </c:pt>
                <c:pt idx="6106">
                  <c:v>0.59749431520027974</c:v>
                </c:pt>
                <c:pt idx="6107">
                  <c:v>0.64447286035539475</c:v>
                </c:pt>
                <c:pt idx="6108">
                  <c:v>0.65490706237735108</c:v>
                </c:pt>
                <c:pt idx="6109">
                  <c:v>0.67031242996100215</c:v>
                </c:pt>
                <c:pt idx="6110">
                  <c:v>0.70253771488714778</c:v>
                </c:pt>
                <c:pt idx="6111">
                  <c:v>0.63552404496478376</c:v>
                </c:pt>
                <c:pt idx="6112">
                  <c:v>0.585600143639465</c:v>
                </c:pt>
                <c:pt idx="6113">
                  <c:v>0.55477476652627722</c:v>
                </c:pt>
                <c:pt idx="6114">
                  <c:v>0.53756113775582881</c:v>
                </c:pt>
                <c:pt idx="6115">
                  <c:v>0.55079686070585965</c:v>
                </c:pt>
                <c:pt idx="6116">
                  <c:v>0.58005846894160873</c:v>
                </c:pt>
                <c:pt idx="6117">
                  <c:v>0.67290361342374039</c:v>
                </c:pt>
                <c:pt idx="6118">
                  <c:v>0.68581721653394012</c:v>
                </c:pt>
                <c:pt idx="6119">
                  <c:v>0.68892734738199468</c:v>
                </c:pt>
                <c:pt idx="6120">
                  <c:v>0.62858242642684681</c:v>
                </c:pt>
                <c:pt idx="6121">
                  <c:v>0.58612823894215349</c:v>
                </c:pt>
                <c:pt idx="6122">
                  <c:v>0.65254297234208114</c:v>
                </c:pt>
                <c:pt idx="6123">
                  <c:v>0.63501175819615441</c:v>
                </c:pt>
                <c:pt idx="6124">
                  <c:v>0.61442136120316093</c:v>
                </c:pt>
                <c:pt idx="6125">
                  <c:v>0.5732036448173583</c:v>
                </c:pt>
                <c:pt idx="6126">
                  <c:v>0.55726266826414828</c:v>
                </c:pt>
                <c:pt idx="6127">
                  <c:v>0.61757450496699784</c:v>
                </c:pt>
                <c:pt idx="6128">
                  <c:v>0.6593536521282185</c:v>
                </c:pt>
                <c:pt idx="6129">
                  <c:v>0.70014761568577111</c:v>
                </c:pt>
                <c:pt idx="6130">
                  <c:v>0.70793362990449271</c:v>
                </c:pt>
                <c:pt idx="6131">
                  <c:v>0.70062729367585552</c:v>
                </c:pt>
                <c:pt idx="6132">
                  <c:v>0.66474259302647565</c:v>
                </c:pt>
                <c:pt idx="6133">
                  <c:v>0.63548633046509095</c:v>
                </c:pt>
                <c:pt idx="6134">
                  <c:v>0.62752318297146203</c:v>
                </c:pt>
                <c:pt idx="6135">
                  <c:v>0.57189719922175464</c:v>
                </c:pt>
                <c:pt idx="6136">
                  <c:v>0.44847192608386638</c:v>
                </c:pt>
                <c:pt idx="6137">
                  <c:v>0.40360993283845886</c:v>
                </c:pt>
                <c:pt idx="6138">
                  <c:v>0.42416925376566633</c:v>
                </c:pt>
                <c:pt idx="6139">
                  <c:v>0.48697153125886694</c:v>
                </c:pt>
                <c:pt idx="6140">
                  <c:v>0.5808474447180686</c:v>
                </c:pt>
                <c:pt idx="6141">
                  <c:v>0.62865960463758441</c:v>
                </c:pt>
                <c:pt idx="6142">
                  <c:v>0.66808915633059074</c:v>
                </c:pt>
                <c:pt idx="6143">
                  <c:v>0.72899658481053831</c:v>
                </c:pt>
                <c:pt idx="6144">
                  <c:v>0.70249305602601453</c:v>
                </c:pt>
                <c:pt idx="6145">
                  <c:v>0.62354332626013154</c:v>
                </c:pt>
                <c:pt idx="6146">
                  <c:v>0.59477893570612472</c:v>
                </c:pt>
                <c:pt idx="6147">
                  <c:v>0.5392057713052858</c:v>
                </c:pt>
                <c:pt idx="6148">
                  <c:v>0.44680917557347333</c:v>
                </c:pt>
                <c:pt idx="6149">
                  <c:v>0.31980242242715645</c:v>
                </c:pt>
                <c:pt idx="6150">
                  <c:v>0.25009800078400624</c:v>
                </c:pt>
                <c:pt idx="6151">
                  <c:v>0.19963610855364111</c:v>
                </c:pt>
                <c:pt idx="6152">
                  <c:v>0.17656765676567654</c:v>
                </c:pt>
                <c:pt idx="6153">
                  <c:v>0.16153483790844075</c:v>
                </c:pt>
                <c:pt idx="6154">
                  <c:v>0.15635158116806236</c:v>
                </c:pt>
                <c:pt idx="6155">
                  <c:v>0.15785321382393547</c:v>
                </c:pt>
                <c:pt idx="6156">
                  <c:v>0.20215077362010314</c:v>
                </c:pt>
                <c:pt idx="6157">
                  <c:v>0.27013354917037635</c:v>
                </c:pt>
                <c:pt idx="6158">
                  <c:v>0.31782766513305433</c:v>
                </c:pt>
                <c:pt idx="6159">
                  <c:v>0.33846471980332232</c:v>
                </c:pt>
                <c:pt idx="6160">
                  <c:v>0.28867978580400627</c:v>
                </c:pt>
                <c:pt idx="6161">
                  <c:v>0.3049028594424199</c:v>
                </c:pt>
                <c:pt idx="6162">
                  <c:v>0.37822554586160734</c:v>
                </c:pt>
                <c:pt idx="6163">
                  <c:v>0.4165026674570243</c:v>
                </c:pt>
                <c:pt idx="6164">
                  <c:v>0.46860077021822849</c:v>
                </c:pt>
                <c:pt idx="6165">
                  <c:v>0.54974681037653117</c:v>
                </c:pt>
                <c:pt idx="6166">
                  <c:v>0.64249474074990709</c:v>
                </c:pt>
                <c:pt idx="6167">
                  <c:v>0.69823672610040133</c:v>
                </c:pt>
                <c:pt idx="6168">
                  <c:v>0.75133943709732109</c:v>
                </c:pt>
                <c:pt idx="6169">
                  <c:v>0.78310933901625823</c:v>
                </c:pt>
                <c:pt idx="6170">
                  <c:v>0.77635771681906351</c:v>
                </c:pt>
                <c:pt idx="6171">
                  <c:v>0.74790605449386327</c:v>
                </c:pt>
                <c:pt idx="6172">
                  <c:v>0.66796302199553714</c:v>
                </c:pt>
                <c:pt idx="6173">
                  <c:v>0.52857715430861718</c:v>
                </c:pt>
                <c:pt idx="6174">
                  <c:v>0.4243233117917018</c:v>
                </c:pt>
                <c:pt idx="6175">
                  <c:v>0.33759750390015597</c:v>
                </c:pt>
                <c:pt idx="6176">
                  <c:v>0.30378636732367187</c:v>
                </c:pt>
                <c:pt idx="6177">
                  <c:v>0.2905690426997245</c:v>
                </c:pt>
                <c:pt idx="6178">
                  <c:v>0.26647167154154483</c:v>
                </c:pt>
                <c:pt idx="6179">
                  <c:v>0.26089389225845433</c:v>
                </c:pt>
                <c:pt idx="6180">
                  <c:v>0.26775447128604862</c:v>
                </c:pt>
                <c:pt idx="6181">
                  <c:v>0.27125992601145171</c:v>
                </c:pt>
                <c:pt idx="6182">
                  <c:v>0.25466155190832285</c:v>
                </c:pt>
                <c:pt idx="6183">
                  <c:v>0.26844718370142095</c:v>
                </c:pt>
                <c:pt idx="6184">
                  <c:v>0.26532675129290079</c:v>
                </c:pt>
                <c:pt idx="6185">
                  <c:v>0.2412850635339247</c:v>
                </c:pt>
                <c:pt idx="6186">
                  <c:v>0.20397220963600665</c:v>
                </c:pt>
                <c:pt idx="6187">
                  <c:v>0.17461338548233538</c:v>
                </c:pt>
                <c:pt idx="6188">
                  <c:v>0.19880034275921168</c:v>
                </c:pt>
                <c:pt idx="6189">
                  <c:v>0.21505472547791593</c:v>
                </c:pt>
                <c:pt idx="6190">
                  <c:v>0.2337028538185579</c:v>
                </c:pt>
                <c:pt idx="6191">
                  <c:v>0.22813648658020669</c:v>
                </c:pt>
                <c:pt idx="6192">
                  <c:v>0.23779293332365958</c:v>
                </c:pt>
                <c:pt idx="6193">
                  <c:v>0.2251287409508172</c:v>
                </c:pt>
                <c:pt idx="6194">
                  <c:v>0.19545642919037032</c:v>
                </c:pt>
                <c:pt idx="6195">
                  <c:v>0.16262858434756397</c:v>
                </c:pt>
                <c:pt idx="6196">
                  <c:v>0.11116426258463351</c:v>
                </c:pt>
                <c:pt idx="6197">
                  <c:v>9.8786466845161541E-2</c:v>
                </c:pt>
                <c:pt idx="6198">
                  <c:v>8.4523582809623563E-2</c:v>
                </c:pt>
                <c:pt idx="6199">
                  <c:v>7.041087285498103E-2</c:v>
                </c:pt>
                <c:pt idx="6200">
                  <c:v>5.9288643490846706E-2</c:v>
                </c:pt>
                <c:pt idx="6201">
                  <c:v>5.8742062766207637E-2</c:v>
                </c:pt>
                <c:pt idx="6202">
                  <c:v>6.0671637899567192E-2</c:v>
                </c:pt>
                <c:pt idx="6203">
                  <c:v>6.0110162049972056E-2</c:v>
                </c:pt>
                <c:pt idx="6204">
                  <c:v>7.0836391312620636E-2</c:v>
                </c:pt>
                <c:pt idx="6205">
                  <c:v>6.9141773612905008E-2</c:v>
                </c:pt>
                <c:pt idx="6206">
                  <c:v>6.4857341684064027E-2</c:v>
                </c:pt>
                <c:pt idx="6207">
                  <c:v>5.9136964744209153E-2</c:v>
                </c:pt>
                <c:pt idx="6208">
                  <c:v>4.6408153762578577E-2</c:v>
                </c:pt>
                <c:pt idx="6209">
                  <c:v>2.9678120471951976E-2</c:v>
                </c:pt>
                <c:pt idx="6210">
                  <c:v>2.1191695874898893E-2</c:v>
                </c:pt>
                <c:pt idx="6211">
                  <c:v>2.6275799187688229E-2</c:v>
                </c:pt>
                <c:pt idx="6212">
                  <c:v>2.9259997654509203E-2</c:v>
                </c:pt>
                <c:pt idx="6213">
                  <c:v>2.3392728525349953E-2</c:v>
                </c:pt>
                <c:pt idx="6214">
                  <c:v>2.1825195411633334E-2</c:v>
                </c:pt>
                <c:pt idx="6215">
                  <c:v>2.2044232781325539E-2</c:v>
                </c:pt>
                <c:pt idx="6216">
                  <c:v>2.2326182869313864E-2</c:v>
                </c:pt>
                <c:pt idx="6217">
                  <c:v>2.8535980148883373E-2</c:v>
                </c:pt>
                <c:pt idx="6218">
                  <c:v>4.0860554001339693E-2</c:v>
                </c:pt>
                <c:pt idx="6219">
                  <c:v>5.8568671471897281E-2</c:v>
                </c:pt>
                <c:pt idx="6220">
                  <c:v>5.9710656586975712E-2</c:v>
                </c:pt>
                <c:pt idx="6221">
                  <c:v>6.3788565579763132E-2</c:v>
                </c:pt>
                <c:pt idx="6222">
                  <c:v>5.98473282442748E-2</c:v>
                </c:pt>
                <c:pt idx="6223">
                  <c:v>5.0003043398867845E-2</c:v>
                </c:pt>
                <c:pt idx="6224">
                  <c:v>3.1819085769482093E-2</c:v>
                </c:pt>
                <c:pt idx="6225">
                  <c:v>1.9648198457781069E-2</c:v>
                </c:pt>
                <c:pt idx="6226">
                  <c:v>2.0645829924180438E-2</c:v>
                </c:pt>
                <c:pt idx="6227">
                  <c:v>2.1301413614019497E-2</c:v>
                </c:pt>
                <c:pt idx="6228">
                  <c:v>2.4647104590419029E-2</c:v>
                </c:pt>
                <c:pt idx="6229">
                  <c:v>2.8476134420807757E-2</c:v>
                </c:pt>
                <c:pt idx="6230">
                  <c:v>3.9652471157954707E-2</c:v>
                </c:pt>
                <c:pt idx="6231">
                  <c:v>4.8060380709251345E-2</c:v>
                </c:pt>
                <c:pt idx="6232">
                  <c:v>5.2167900222808407E-2</c:v>
                </c:pt>
                <c:pt idx="6233">
                  <c:v>3.5368549432121352E-2</c:v>
                </c:pt>
                <c:pt idx="6234">
                  <c:v>4.53722413204923E-2</c:v>
                </c:pt>
                <c:pt idx="6235">
                  <c:v>3.7709199445688089E-2</c:v>
                </c:pt>
                <c:pt idx="6236">
                  <c:v>3.4875078611857527E-2</c:v>
                </c:pt>
                <c:pt idx="6237">
                  <c:v>2.8704711553413153E-2</c:v>
                </c:pt>
                <c:pt idx="6238">
                  <c:v>2.15354543003505E-2</c:v>
                </c:pt>
                <c:pt idx="6239">
                  <c:v>2.2516133607545567E-2</c:v>
                </c:pt>
                <c:pt idx="6240">
                  <c:v>1.2678172291231542E-2</c:v>
                </c:pt>
                <c:pt idx="6241">
                  <c:v>9.0935975158953145E-3</c:v>
                </c:pt>
                <c:pt idx="6242">
                  <c:v>8.4470675027665063E-3</c:v>
                </c:pt>
                <c:pt idx="6243">
                  <c:v>3.9278700232101412E-3</c:v>
                </c:pt>
                <c:pt idx="6244">
                  <c:v>4.9264298065315971E-3</c:v>
                </c:pt>
                <c:pt idx="6245">
                  <c:v>5.2273773733105822E-3</c:v>
                </c:pt>
                <c:pt idx="6246">
                  <c:v>4.0086776079984914E-3</c:v>
                </c:pt>
                <c:pt idx="6247">
                  <c:v>2.8782712659965459E-3</c:v>
                </c:pt>
                <c:pt idx="6248">
                  <c:v>1.4748942630951089E-3</c:v>
                </c:pt>
                <c:pt idx="6249">
                  <c:v>1.5208636792048667E-3</c:v>
                </c:pt>
                <c:pt idx="6250">
                  <c:v>7.5165363800360797E-4</c:v>
                </c:pt>
                <c:pt idx="6251">
                  <c:v>1.5229309894700201E-3</c:v>
                </c:pt>
                <c:pt idx="6252">
                  <c:v>4.4060588789758661E-3</c:v>
                </c:pt>
                <c:pt idx="6253">
                  <c:v>1.1555277951280451E-2</c:v>
                </c:pt>
                <c:pt idx="6254">
                  <c:v>1.6177699377959338E-2</c:v>
                </c:pt>
                <c:pt idx="6255">
                  <c:v>1.5222619131003244E-2</c:v>
                </c:pt>
                <c:pt idx="6256">
                  <c:v>1.3504538410449414E-2</c:v>
                </c:pt>
                <c:pt idx="6257">
                  <c:v>1.3660213497376516E-2</c:v>
                </c:pt>
                <c:pt idx="6258">
                  <c:v>1.4967411545623836E-2</c:v>
                </c:pt>
                <c:pt idx="6259">
                  <c:v>1.6574054028048395E-2</c:v>
                </c:pt>
                <c:pt idx="6260">
                  <c:v>2.6741584725040325E-2</c:v>
                </c:pt>
                <c:pt idx="6261">
                  <c:v>5.2115672070829025E-2</c:v>
                </c:pt>
                <c:pt idx="6262">
                  <c:v>9.7403419886003803E-2</c:v>
                </c:pt>
                <c:pt idx="6263">
                  <c:v>0.12991069912736408</c:v>
                </c:pt>
                <c:pt idx="6264">
                  <c:v>0.15563392699700226</c:v>
                </c:pt>
                <c:pt idx="6265">
                  <c:v>0.20413594677216329</c:v>
                </c:pt>
                <c:pt idx="6266">
                  <c:v>0.24349449050644265</c:v>
                </c:pt>
                <c:pt idx="6267">
                  <c:v>0.26253656498119515</c:v>
                </c:pt>
                <c:pt idx="6268">
                  <c:v>0.27560681153895034</c:v>
                </c:pt>
                <c:pt idx="6269">
                  <c:v>0.25140861836362194</c:v>
                </c:pt>
                <c:pt idx="6270">
                  <c:v>0.27566689863140798</c:v>
                </c:pt>
                <c:pt idx="6271">
                  <c:v>0.25175396019944396</c:v>
                </c:pt>
                <c:pt idx="6272">
                  <c:v>0.21008842618809079</c:v>
                </c:pt>
                <c:pt idx="6273">
                  <c:v>0.22375288782407804</c:v>
                </c:pt>
                <c:pt idx="6274">
                  <c:v>0.26650750634490472</c:v>
                </c:pt>
                <c:pt idx="6275">
                  <c:v>0.29342473479836001</c:v>
                </c:pt>
                <c:pt idx="6276">
                  <c:v>0.28236672524897483</c:v>
                </c:pt>
                <c:pt idx="6277">
                  <c:v>0.27824337173562125</c:v>
                </c:pt>
                <c:pt idx="6278">
                  <c:v>0.29754154336444344</c:v>
                </c:pt>
                <c:pt idx="6279">
                  <c:v>0.33042664414363004</c:v>
                </c:pt>
                <c:pt idx="6280">
                  <c:v>0.30832320777642769</c:v>
                </c:pt>
                <c:pt idx="6281">
                  <c:v>0.28307589732192467</c:v>
                </c:pt>
                <c:pt idx="6282">
                  <c:v>0.24414331649058338</c:v>
                </c:pt>
                <c:pt idx="6283">
                  <c:v>0.23521820180679701</c:v>
                </c:pt>
                <c:pt idx="6284">
                  <c:v>0.26702976175111637</c:v>
                </c:pt>
                <c:pt idx="6285">
                  <c:v>0.2682593467923346</c:v>
                </c:pt>
                <c:pt idx="6286">
                  <c:v>0.26817868122215949</c:v>
                </c:pt>
                <c:pt idx="6287">
                  <c:v>0.27799959396359208</c:v>
                </c:pt>
                <c:pt idx="6288">
                  <c:v>0.30685592420375485</c:v>
                </c:pt>
                <c:pt idx="6289">
                  <c:v>0.30215904232578022</c:v>
                </c:pt>
                <c:pt idx="6290">
                  <c:v>0.30302493624256166</c:v>
                </c:pt>
                <c:pt idx="6291">
                  <c:v>0.27366597366597367</c:v>
                </c:pt>
                <c:pt idx="6292">
                  <c:v>0.2467573652998446</c:v>
                </c:pt>
                <c:pt idx="6293">
                  <c:v>0.17445433771964386</c:v>
                </c:pt>
                <c:pt idx="6294">
                  <c:v>0.14220109385456811</c:v>
                </c:pt>
                <c:pt idx="6295">
                  <c:v>0.1100032869508053</c:v>
                </c:pt>
                <c:pt idx="6296">
                  <c:v>9.8851420042828403E-2</c:v>
                </c:pt>
                <c:pt idx="6297">
                  <c:v>8.0967783121249526E-2</c:v>
                </c:pt>
                <c:pt idx="6298">
                  <c:v>7.7993002815939919E-2</c:v>
                </c:pt>
                <c:pt idx="6299">
                  <c:v>8.4362497825708815E-2</c:v>
                </c:pt>
                <c:pt idx="6300">
                  <c:v>9.4545847283723949E-2</c:v>
                </c:pt>
                <c:pt idx="6301">
                  <c:v>9.0899023234180157E-2</c:v>
                </c:pt>
                <c:pt idx="6302">
                  <c:v>9.6596284758278528E-2</c:v>
                </c:pt>
                <c:pt idx="6303">
                  <c:v>0.10011592858798979</c:v>
                </c:pt>
                <c:pt idx="6304">
                  <c:v>9.1268958768847566E-2</c:v>
                </c:pt>
                <c:pt idx="6305">
                  <c:v>7.3312116390088652E-2</c:v>
                </c:pt>
                <c:pt idx="6306">
                  <c:v>5.34480359875713E-2</c:v>
                </c:pt>
                <c:pt idx="6307">
                  <c:v>4.3036332179930789E-2</c:v>
                </c:pt>
                <c:pt idx="6308">
                  <c:v>5.0637824410691645E-2</c:v>
                </c:pt>
                <c:pt idx="6309">
                  <c:v>5.2047637773158816E-2</c:v>
                </c:pt>
                <c:pt idx="6310">
                  <c:v>6.7244433198380568E-2</c:v>
                </c:pt>
                <c:pt idx="6311">
                  <c:v>6.2483094400865573E-2</c:v>
                </c:pt>
                <c:pt idx="6312">
                  <c:v>5.5263526773198762E-2</c:v>
                </c:pt>
                <c:pt idx="6313">
                  <c:v>5.6343019135364991E-2</c:v>
                </c:pt>
                <c:pt idx="6314">
                  <c:v>6.1679141364214096E-2</c:v>
                </c:pt>
                <c:pt idx="6315">
                  <c:v>4.2306239483534222E-2</c:v>
                </c:pt>
                <c:pt idx="6316">
                  <c:v>3.2701317485771778E-2</c:v>
                </c:pt>
                <c:pt idx="6317">
                  <c:v>2.8852994650997339E-2</c:v>
                </c:pt>
                <c:pt idx="6318">
                  <c:v>2.3091076356945725E-2</c:v>
                </c:pt>
                <c:pt idx="6319">
                  <c:v>2.5915135052246491E-2</c:v>
                </c:pt>
                <c:pt idx="6320">
                  <c:v>2.3130283980056364E-2</c:v>
                </c:pt>
                <c:pt idx="6321">
                  <c:v>2.1774091159168819E-2</c:v>
                </c:pt>
                <c:pt idx="6322">
                  <c:v>2.6579632236870172E-2</c:v>
                </c:pt>
                <c:pt idx="6323">
                  <c:v>2.8516696416909747E-2</c:v>
                </c:pt>
                <c:pt idx="6324">
                  <c:v>2.4301761440622405E-2</c:v>
                </c:pt>
                <c:pt idx="6325">
                  <c:v>3.0088416739048125E-2</c:v>
                </c:pt>
                <c:pt idx="6326">
                  <c:v>4.4349630996309966E-2</c:v>
                </c:pt>
                <c:pt idx="6327">
                  <c:v>5.7554123591859449E-2</c:v>
                </c:pt>
                <c:pt idx="6328">
                  <c:v>6.7216275513596158E-2</c:v>
                </c:pt>
                <c:pt idx="6329">
                  <c:v>8.0606761444799668E-2</c:v>
                </c:pt>
                <c:pt idx="6330">
                  <c:v>9.4987294987294982E-2</c:v>
                </c:pt>
                <c:pt idx="6331">
                  <c:v>0.11512052242389319</c:v>
                </c:pt>
                <c:pt idx="6332">
                  <c:v>0.11461058302468337</c:v>
                </c:pt>
                <c:pt idx="6333">
                  <c:v>0.10791635548917101</c:v>
                </c:pt>
                <c:pt idx="6334">
                  <c:v>0.11229231650646126</c:v>
                </c:pt>
                <c:pt idx="6335">
                  <c:v>0.12584491015930166</c:v>
                </c:pt>
                <c:pt idx="6336">
                  <c:v>0.12897545169584052</c:v>
                </c:pt>
                <c:pt idx="6337">
                  <c:v>0.12403350515463918</c:v>
                </c:pt>
                <c:pt idx="6338">
                  <c:v>0.12399942824471126</c:v>
                </c:pt>
                <c:pt idx="6339">
                  <c:v>0.13090819970590298</c:v>
                </c:pt>
                <c:pt idx="6340">
                  <c:v>0.11748108246761574</c:v>
                </c:pt>
                <c:pt idx="6341">
                  <c:v>9.1951277764509204E-2</c:v>
                </c:pt>
                <c:pt idx="6342">
                  <c:v>8.3972481755217765E-2</c:v>
                </c:pt>
                <c:pt idx="6343">
                  <c:v>5.7731367008124333E-2</c:v>
                </c:pt>
                <c:pt idx="6344">
                  <c:v>4.6449220028362603E-2</c:v>
                </c:pt>
                <c:pt idx="6345">
                  <c:v>4.9056359875904863E-2</c:v>
                </c:pt>
                <c:pt idx="6346">
                  <c:v>5.7851419613307795E-2</c:v>
                </c:pt>
                <c:pt idx="6347">
                  <c:v>5.6039344854036E-2</c:v>
                </c:pt>
                <c:pt idx="6348">
                  <c:v>4.9401473296500922E-2</c:v>
                </c:pt>
                <c:pt idx="6349">
                  <c:v>3.8111530876517689E-2</c:v>
                </c:pt>
                <c:pt idx="6350">
                  <c:v>3.0768850554827868E-2</c:v>
                </c:pt>
                <c:pt idx="6351">
                  <c:v>3.2591610177817074E-2</c:v>
                </c:pt>
                <c:pt idx="6352">
                  <c:v>2.8796116957972604E-2</c:v>
                </c:pt>
                <c:pt idx="6353">
                  <c:v>3.5805505628606571E-2</c:v>
                </c:pt>
                <c:pt idx="6354">
                  <c:v>3.9308368641473392E-2</c:v>
                </c:pt>
                <c:pt idx="6355">
                  <c:v>3.3364637136745451E-2</c:v>
                </c:pt>
                <c:pt idx="6356">
                  <c:v>3.2535965205754434E-2</c:v>
                </c:pt>
                <c:pt idx="6357">
                  <c:v>3.7968561064087067E-2</c:v>
                </c:pt>
                <c:pt idx="6358">
                  <c:v>3.9996069182389932E-2</c:v>
                </c:pt>
                <c:pt idx="6359">
                  <c:v>2.4907555989674181E-2</c:v>
                </c:pt>
                <c:pt idx="6360">
                  <c:v>1.9100185191909657E-2</c:v>
                </c:pt>
                <c:pt idx="6361">
                  <c:v>1.6358622745565661E-2</c:v>
                </c:pt>
                <c:pt idx="6362">
                  <c:v>1.3053560742070616E-2</c:v>
                </c:pt>
                <c:pt idx="6363">
                  <c:v>1.1604910630993696E-2</c:v>
                </c:pt>
                <c:pt idx="6364">
                  <c:v>1.6725448132930951E-2</c:v>
                </c:pt>
                <c:pt idx="6365">
                  <c:v>1.730998129569801E-2</c:v>
                </c:pt>
                <c:pt idx="6366">
                  <c:v>1.295970879879503E-2</c:v>
                </c:pt>
                <c:pt idx="6367">
                  <c:v>1.6099159424419432E-2</c:v>
                </c:pt>
                <c:pt idx="6368">
                  <c:v>1.540198371099105E-2</c:v>
                </c:pt>
                <c:pt idx="6369">
                  <c:v>1.2636701376170791E-2</c:v>
                </c:pt>
                <c:pt idx="6370">
                  <c:v>1.1432183968601005E-2</c:v>
                </c:pt>
                <c:pt idx="6371">
                  <c:v>1.1196603873706554E-2</c:v>
                </c:pt>
                <c:pt idx="6372">
                  <c:v>7.4487391316124486E-3</c:v>
                </c:pt>
                <c:pt idx="6373">
                  <c:v>5.9507410876632324E-3</c:v>
                </c:pt>
                <c:pt idx="6374">
                  <c:v>7.88843499084378E-3</c:v>
                </c:pt>
                <c:pt idx="6375">
                  <c:v>1.1774739332581363E-2</c:v>
                </c:pt>
                <c:pt idx="6376">
                  <c:v>1.425438596491228E-2</c:v>
                </c:pt>
                <c:pt idx="6377">
                  <c:v>2.3853257819276493E-2</c:v>
                </c:pt>
                <c:pt idx="6378">
                  <c:v>3.7921163896110721E-2</c:v>
                </c:pt>
                <c:pt idx="6379">
                  <c:v>4.5744973836408707E-2</c:v>
                </c:pt>
                <c:pt idx="6380">
                  <c:v>5.3428630012595561E-2</c:v>
                </c:pt>
                <c:pt idx="6381">
                  <c:v>6.1221921600704721E-2</c:v>
                </c:pt>
                <c:pt idx="6382">
                  <c:v>6.4314789687924021E-2</c:v>
                </c:pt>
                <c:pt idx="6383">
                  <c:v>5.9504072659122033E-2</c:v>
                </c:pt>
                <c:pt idx="6384">
                  <c:v>5.6822895064288663E-2</c:v>
                </c:pt>
                <c:pt idx="6385">
                  <c:v>5.2491206370066879E-2</c:v>
                </c:pt>
                <c:pt idx="6386">
                  <c:v>4.6394174301151052E-2</c:v>
                </c:pt>
                <c:pt idx="6387">
                  <c:v>4.5399633685359098E-2</c:v>
                </c:pt>
                <c:pt idx="6388">
                  <c:v>4.923263941650205E-2</c:v>
                </c:pt>
                <c:pt idx="6389">
                  <c:v>6.4504530418524386E-2</c:v>
                </c:pt>
                <c:pt idx="6390">
                  <c:v>7.8E-2</c:v>
                </c:pt>
                <c:pt idx="6391">
                  <c:v>7.2330723307233072E-2</c:v>
                </c:pt>
                <c:pt idx="6392">
                  <c:v>5.7925385194059792E-2</c:v>
                </c:pt>
                <c:pt idx="6393">
                  <c:v>6.5175044640441535E-2</c:v>
                </c:pt>
                <c:pt idx="6394">
                  <c:v>6.8355308813324078E-2</c:v>
                </c:pt>
                <c:pt idx="6395">
                  <c:v>9.0828450083328835E-2</c:v>
                </c:pt>
                <c:pt idx="6396">
                  <c:v>0.12917945514300461</c:v>
                </c:pt>
                <c:pt idx="6397">
                  <c:v>0.14974800043826014</c:v>
                </c:pt>
                <c:pt idx="6398">
                  <c:v>0.16795944373649507</c:v>
                </c:pt>
                <c:pt idx="6399">
                  <c:v>0.17212779308651407</c:v>
                </c:pt>
                <c:pt idx="6400">
                  <c:v>0.17728700233005776</c:v>
                </c:pt>
                <c:pt idx="6401">
                  <c:v>0.19652537885473662</c:v>
                </c:pt>
                <c:pt idx="6402">
                  <c:v>0.25078584465625636</c:v>
                </c:pt>
                <c:pt idx="6403">
                  <c:v>0.31110583768391081</c:v>
                </c:pt>
                <c:pt idx="6404">
                  <c:v>0.39457267623206488</c:v>
                </c:pt>
                <c:pt idx="6405">
                  <c:v>0.46639548858278629</c:v>
                </c:pt>
                <c:pt idx="6406">
                  <c:v>0.51571924385888068</c:v>
                </c:pt>
                <c:pt idx="6407">
                  <c:v>0.49915200339198645</c:v>
                </c:pt>
                <c:pt idx="6408">
                  <c:v>0.443982191080943</c:v>
                </c:pt>
                <c:pt idx="6409">
                  <c:v>0.41612556120366595</c:v>
                </c:pt>
                <c:pt idx="6410">
                  <c:v>0.37091069849690539</c:v>
                </c:pt>
                <c:pt idx="6411">
                  <c:v>0.364072456504618</c:v>
                </c:pt>
                <c:pt idx="6412">
                  <c:v>0.38153746140094263</c:v>
                </c:pt>
                <c:pt idx="6413">
                  <c:v>0.33472636286201024</c:v>
                </c:pt>
                <c:pt idx="6414">
                  <c:v>0.30965954991344485</c:v>
                </c:pt>
                <c:pt idx="6415">
                  <c:v>0.3352764567947229</c:v>
                </c:pt>
                <c:pt idx="6416">
                  <c:v>0.3572344541285401</c:v>
                </c:pt>
                <c:pt idx="6417">
                  <c:v>0.37024853025447291</c:v>
                </c:pt>
                <c:pt idx="6418">
                  <c:v>0.40243540243540243</c:v>
                </c:pt>
                <c:pt idx="6419">
                  <c:v>0.42663143531654069</c:v>
                </c:pt>
                <c:pt idx="6420">
                  <c:v>0.45804090419806243</c:v>
                </c:pt>
                <c:pt idx="6421">
                  <c:v>0.47678379150460365</c:v>
                </c:pt>
                <c:pt idx="6422">
                  <c:v>0.47876009803031683</c:v>
                </c:pt>
                <c:pt idx="6423">
                  <c:v>0.46440623493491884</c:v>
                </c:pt>
                <c:pt idx="6424">
                  <c:v>0.39152968729669951</c:v>
                </c:pt>
                <c:pt idx="6425">
                  <c:v>0.3426805665523005</c:v>
                </c:pt>
                <c:pt idx="6426">
                  <c:v>0.35245606939013979</c:v>
                </c:pt>
                <c:pt idx="6427">
                  <c:v>0.37167467758054534</c:v>
                </c:pt>
                <c:pt idx="6428">
                  <c:v>0.36308483290488436</c:v>
                </c:pt>
                <c:pt idx="6429">
                  <c:v>0.36336616847826092</c:v>
                </c:pt>
                <c:pt idx="6430">
                  <c:v>0.37950199390837441</c:v>
                </c:pt>
                <c:pt idx="6431">
                  <c:v>0.44515306122448983</c:v>
                </c:pt>
                <c:pt idx="6432">
                  <c:v>0.46292941258448894</c:v>
                </c:pt>
                <c:pt idx="6433">
                  <c:v>0.4837428642343013</c:v>
                </c:pt>
                <c:pt idx="6434">
                  <c:v>0.47890888638920126</c:v>
                </c:pt>
                <c:pt idx="6435">
                  <c:v>0.48026405801067173</c:v>
                </c:pt>
                <c:pt idx="6436">
                  <c:v>0.45573267357740121</c:v>
                </c:pt>
                <c:pt idx="6437">
                  <c:v>0.37204099682638775</c:v>
                </c:pt>
                <c:pt idx="6438">
                  <c:v>0.31986156333249854</c:v>
                </c:pt>
                <c:pt idx="6439">
                  <c:v>0.30644703209315532</c:v>
                </c:pt>
                <c:pt idx="6440">
                  <c:v>0.31227046878375458</c:v>
                </c:pt>
                <c:pt idx="6441">
                  <c:v>0.32801309162008796</c:v>
                </c:pt>
                <c:pt idx="6442">
                  <c:v>0.34062113391066939</c:v>
                </c:pt>
                <c:pt idx="6443">
                  <c:v>0.35701992169011659</c:v>
                </c:pt>
                <c:pt idx="6444">
                  <c:v>0.38876375571143573</c:v>
                </c:pt>
                <c:pt idx="6445">
                  <c:v>0.40029797769549308</c:v>
                </c:pt>
                <c:pt idx="6446">
                  <c:v>0.39117047769979624</c:v>
                </c:pt>
                <c:pt idx="6447">
                  <c:v>0.36387325892445344</c:v>
                </c:pt>
                <c:pt idx="6448">
                  <c:v>0.2874895342176001</c:v>
                </c:pt>
                <c:pt idx="6449">
                  <c:v>0.26131705779018966</c:v>
                </c:pt>
                <c:pt idx="6450">
                  <c:v>0.25892087961913396</c:v>
                </c:pt>
                <c:pt idx="6451">
                  <c:v>0.2880221115585313</c:v>
                </c:pt>
                <c:pt idx="6452">
                  <c:v>0.30550494033106634</c:v>
                </c:pt>
                <c:pt idx="6453">
                  <c:v>0.30929587039030187</c:v>
                </c:pt>
                <c:pt idx="6454">
                  <c:v>0.35373915222907981</c:v>
                </c:pt>
                <c:pt idx="6455">
                  <c:v>0.38877903274457892</c:v>
                </c:pt>
                <c:pt idx="6456">
                  <c:v>0.37339398569345089</c:v>
                </c:pt>
                <c:pt idx="6457">
                  <c:v>0.38834677845492654</c:v>
                </c:pt>
                <c:pt idx="6458">
                  <c:v>0.37498241170676794</c:v>
                </c:pt>
                <c:pt idx="6459">
                  <c:v>0.37631823022225275</c:v>
                </c:pt>
                <c:pt idx="6460">
                  <c:v>0.35593380913282385</c:v>
                </c:pt>
                <c:pt idx="6461">
                  <c:v>0.31901824386402416</c:v>
                </c:pt>
                <c:pt idx="6462">
                  <c:v>0.29890895838553172</c:v>
                </c:pt>
                <c:pt idx="6463">
                  <c:v>0.2960654962717838</c:v>
                </c:pt>
                <c:pt idx="6464">
                  <c:v>0.30054784048923433</c:v>
                </c:pt>
                <c:pt idx="6465">
                  <c:v>0.32645376053261205</c:v>
                </c:pt>
                <c:pt idx="6466">
                  <c:v>0.38865917260581373</c:v>
                </c:pt>
                <c:pt idx="6467">
                  <c:v>0.44081315885916311</c:v>
                </c:pt>
                <c:pt idx="6468">
                  <c:v>0.46862434767730338</c:v>
                </c:pt>
                <c:pt idx="6469">
                  <c:v>0.47126762404933648</c:v>
                </c:pt>
                <c:pt idx="6470">
                  <c:v>0.50504161873181297</c:v>
                </c:pt>
                <c:pt idx="6471">
                  <c:v>0.54980179523397288</c:v>
                </c:pt>
                <c:pt idx="6472">
                  <c:v>0.52874261896491836</c:v>
                </c:pt>
                <c:pt idx="6473">
                  <c:v>0.54885765669752884</c:v>
                </c:pt>
                <c:pt idx="6474">
                  <c:v>0.56309045620806508</c:v>
                </c:pt>
                <c:pt idx="6475">
                  <c:v>0.58141202044261497</c:v>
                </c:pt>
                <c:pt idx="6476">
                  <c:v>0.59529928391426945</c:v>
                </c:pt>
                <c:pt idx="6477">
                  <c:v>0.64755103709558737</c:v>
                </c:pt>
                <c:pt idx="6478">
                  <c:v>0.6859163406560338</c:v>
                </c:pt>
                <c:pt idx="6479">
                  <c:v>0.70460040620264996</c:v>
                </c:pt>
                <c:pt idx="6480">
                  <c:v>0.74731772130875274</c:v>
                </c:pt>
                <c:pt idx="6481">
                  <c:v>0.76782629314725093</c:v>
                </c:pt>
                <c:pt idx="6482">
                  <c:v>0.75496374601883842</c:v>
                </c:pt>
                <c:pt idx="6483">
                  <c:v>0.68868575937921284</c:v>
                </c:pt>
                <c:pt idx="6484">
                  <c:v>0.59497460087082721</c:v>
                </c:pt>
                <c:pt idx="6485">
                  <c:v>0.50818656061153866</c:v>
                </c:pt>
                <c:pt idx="6486">
                  <c:v>0.47456858432164001</c:v>
                </c:pt>
                <c:pt idx="6487">
                  <c:v>0.47615168599541252</c:v>
                </c:pt>
                <c:pt idx="6488">
                  <c:v>0.50961868037703517</c:v>
                </c:pt>
                <c:pt idx="6489">
                  <c:v>0.52269094885598921</c:v>
                </c:pt>
                <c:pt idx="6490">
                  <c:v>0.54552326558037967</c:v>
                </c:pt>
                <c:pt idx="6491">
                  <c:v>0.58502059025394648</c:v>
                </c:pt>
                <c:pt idx="6492">
                  <c:v>0.578127677806341</c:v>
                </c:pt>
                <c:pt idx="6493">
                  <c:v>0.5852088633744319</c:v>
                </c:pt>
                <c:pt idx="6494">
                  <c:v>0.60410791606528258</c:v>
                </c:pt>
                <c:pt idx="6495">
                  <c:v>0.57073723000421783</c:v>
                </c:pt>
                <c:pt idx="6496">
                  <c:v>0.49608661622749806</c:v>
                </c:pt>
                <c:pt idx="6497">
                  <c:v>0.44331622651483438</c:v>
                </c:pt>
                <c:pt idx="6498">
                  <c:v>0.3764463359489294</c:v>
                </c:pt>
                <c:pt idx="6499">
                  <c:v>0.36587307161083416</c:v>
                </c:pt>
                <c:pt idx="6500">
                  <c:v>0.35914332784184516</c:v>
                </c:pt>
                <c:pt idx="6501">
                  <c:v>0.36730616601439553</c:v>
                </c:pt>
                <c:pt idx="6502">
                  <c:v>0.39882768831011878</c:v>
                </c:pt>
                <c:pt idx="6503">
                  <c:v>0.40612965340179719</c:v>
                </c:pt>
                <c:pt idx="6504">
                  <c:v>0.41978263037192143</c:v>
                </c:pt>
                <c:pt idx="6505">
                  <c:v>0.40703772627305024</c:v>
                </c:pt>
                <c:pt idx="6506">
                  <c:v>0.41271609940572657</c:v>
                </c:pt>
                <c:pt idx="6507">
                  <c:v>0.44415199868399408</c:v>
                </c:pt>
                <c:pt idx="6508">
                  <c:v>0.4680605360724488</c:v>
                </c:pt>
                <c:pt idx="6509">
                  <c:v>0.42733689728551405</c:v>
                </c:pt>
                <c:pt idx="6510">
                  <c:v>0.40222564706948916</c:v>
                </c:pt>
                <c:pt idx="6511">
                  <c:v>0.41594851096323771</c:v>
                </c:pt>
                <c:pt idx="6512">
                  <c:v>0.42784121805328984</c:v>
                </c:pt>
                <c:pt idx="6513">
                  <c:v>0.43498913645464998</c:v>
                </c:pt>
                <c:pt idx="6514">
                  <c:v>0.46213255744298487</c:v>
                </c:pt>
                <c:pt idx="6515">
                  <c:v>0.49706657220660189</c:v>
                </c:pt>
                <c:pt idx="6516">
                  <c:v>0.51917882225823886</c:v>
                </c:pt>
                <c:pt idx="6517">
                  <c:v>0.55636618730270082</c:v>
                </c:pt>
                <c:pt idx="6518">
                  <c:v>0.59786873334947932</c:v>
                </c:pt>
                <c:pt idx="6519">
                  <c:v>0.62069467352284857</c:v>
                </c:pt>
                <c:pt idx="6520">
                  <c:v>0.62423551845220104</c:v>
                </c:pt>
                <c:pt idx="6521">
                  <c:v>0.69904797548595343</c:v>
                </c:pt>
                <c:pt idx="6522">
                  <c:v>0.71836055863121673</c:v>
                </c:pt>
                <c:pt idx="6523">
                  <c:v>0.79948385263756039</c:v>
                </c:pt>
                <c:pt idx="6524">
                  <c:v>0.83835671443270521</c:v>
                </c:pt>
                <c:pt idx="6525">
                  <c:v>0.90748599096893534</c:v>
                </c:pt>
                <c:pt idx="6526">
                  <c:v>0.96176668323053982</c:v>
                </c:pt>
                <c:pt idx="6527">
                  <c:v>1.0385541405309511</c:v>
                </c:pt>
                <c:pt idx="6528">
                  <c:v>1.1200724192115872</c:v>
                </c:pt>
                <c:pt idx="6529">
                  <c:v>1.0956323742496379</c:v>
                </c:pt>
                <c:pt idx="6530">
                  <c:v>1.0955991828537792</c:v>
                </c:pt>
                <c:pt idx="6531">
                  <c:v>1.0950980731310755</c:v>
                </c:pt>
                <c:pt idx="6532">
                  <c:v>1.1070422535211268</c:v>
                </c:pt>
                <c:pt idx="6533">
                  <c:v>1.0284259378625757</c:v>
                </c:pt>
                <c:pt idx="6534">
                  <c:v>0.9205386208937556</c:v>
                </c:pt>
                <c:pt idx="6535">
                  <c:v>0.8162108430498094</c:v>
                </c:pt>
                <c:pt idx="6536">
                  <c:v>0.78073860268535933</c:v>
                </c:pt>
                <c:pt idx="6537">
                  <c:v>0.74462521059116404</c:v>
                </c:pt>
                <c:pt idx="6538">
                  <c:v>0.71827533045214453</c:v>
                </c:pt>
                <c:pt idx="6539">
                  <c:v>0.68936809409847744</c:v>
                </c:pt>
                <c:pt idx="6540">
                  <c:v>0.66507726044163396</c:v>
                </c:pt>
                <c:pt idx="6541">
                  <c:v>0.64909603496883328</c:v>
                </c:pt>
                <c:pt idx="6542">
                  <c:v>0.64280397681960766</c:v>
                </c:pt>
                <c:pt idx="6543">
                  <c:v>0.62169577375613361</c:v>
                </c:pt>
                <c:pt idx="6544">
                  <c:v>0.5956300360868062</c:v>
                </c:pt>
                <c:pt idx="6545">
                  <c:v>0.60496751819469552</c:v>
                </c:pt>
                <c:pt idx="6546">
                  <c:v>0.65491938301802033</c:v>
                </c:pt>
                <c:pt idx="6547">
                  <c:v>0.70800456948540158</c:v>
                </c:pt>
                <c:pt idx="6548">
                  <c:v>0.74947095172258116</c:v>
                </c:pt>
                <c:pt idx="6549">
                  <c:v>0.79885126964933495</c:v>
                </c:pt>
                <c:pt idx="6550">
                  <c:v>0.71328460097867452</c:v>
                </c:pt>
                <c:pt idx="6551">
                  <c:v>0.62744516893894486</c:v>
                </c:pt>
                <c:pt idx="6552">
                  <c:v>0.80438782731776359</c:v>
                </c:pt>
                <c:pt idx="6553">
                  <c:v>0.77024102131406147</c:v>
                </c:pt>
                <c:pt idx="6554">
                  <c:v>0.65798384996092718</c:v>
                </c:pt>
                <c:pt idx="6555">
                  <c:v>0.55137546468401488</c:v>
                </c:pt>
                <c:pt idx="6556">
                  <c:v>0.45985853871955668</c:v>
                </c:pt>
                <c:pt idx="6557">
                  <c:v>0.36729222520107246</c:v>
                </c:pt>
                <c:pt idx="6558">
                  <c:v>0.30286085825747722</c:v>
                </c:pt>
                <c:pt idx="6559">
                  <c:v>0.24482618300197653</c:v>
                </c:pt>
                <c:pt idx="6560">
                  <c:v>0.20071100979673806</c:v>
                </c:pt>
                <c:pt idx="6561">
                  <c:v>0.17310774242702889</c:v>
                </c:pt>
                <c:pt idx="6562">
                  <c:v>0.19114072912583299</c:v>
                </c:pt>
                <c:pt idx="6563">
                  <c:v>0.1828725520996963</c:v>
                </c:pt>
                <c:pt idx="6564">
                  <c:v>0.182031106081739</c:v>
                </c:pt>
                <c:pt idx="6565">
                  <c:v>0.23881234647014843</c:v>
                </c:pt>
                <c:pt idx="6566">
                  <c:v>0.28630458854349522</c:v>
                </c:pt>
                <c:pt idx="6567">
                  <c:v>0.32198387181784649</c:v>
                </c:pt>
                <c:pt idx="6568">
                  <c:v>0.26395843174303263</c:v>
                </c:pt>
                <c:pt idx="6569">
                  <c:v>0.27142067440574896</c:v>
                </c:pt>
                <c:pt idx="6570">
                  <c:v>0.36066179868749421</c:v>
                </c:pt>
                <c:pt idx="6571">
                  <c:v>0.45288547695735348</c:v>
                </c:pt>
                <c:pt idx="6572">
                  <c:v>0.59711628878905032</c:v>
                </c:pt>
                <c:pt idx="6573">
                  <c:v>0.74000848536274932</c:v>
                </c:pt>
                <c:pt idx="6574">
                  <c:v>0.87227206595538309</c:v>
                </c:pt>
                <c:pt idx="6575">
                  <c:v>0.98712473707693282</c:v>
                </c:pt>
                <c:pt idx="6576">
                  <c:v>1.0857864855108135</c:v>
                </c:pt>
                <c:pt idx="6577">
                  <c:v>1.0906448979591838</c:v>
                </c:pt>
                <c:pt idx="6578">
                  <c:v>1.1016103059581321</c:v>
                </c:pt>
                <c:pt idx="6579">
                  <c:v>1.1390845070422535</c:v>
                </c:pt>
                <c:pt idx="6580">
                  <c:v>1.1068697885109209</c:v>
                </c:pt>
                <c:pt idx="6581">
                  <c:v>0.94865189764726077</c:v>
                </c:pt>
                <c:pt idx="6582">
                  <c:v>0.76492190797804982</c:v>
                </c:pt>
                <c:pt idx="6583">
                  <c:v>0.6772579024020019</c:v>
                </c:pt>
                <c:pt idx="6584">
                  <c:v>0.63288738220634821</c:v>
                </c:pt>
                <c:pt idx="6585">
                  <c:v>0.60187973724103072</c:v>
                </c:pt>
                <c:pt idx="6586">
                  <c:v>0.66739245451955542</c:v>
                </c:pt>
                <c:pt idx="6587">
                  <c:v>0.72673316297090107</c:v>
                </c:pt>
                <c:pt idx="6588">
                  <c:v>0.74073919746656103</c:v>
                </c:pt>
                <c:pt idx="6589">
                  <c:v>0.75667853499073434</c:v>
                </c:pt>
                <c:pt idx="6590">
                  <c:v>0.7254494418136237</c:v>
                </c:pt>
                <c:pt idx="6591">
                  <c:v>0.73572784670404867</c:v>
                </c:pt>
                <c:pt idx="6592">
                  <c:v>0.66276066276066281</c:v>
                </c:pt>
                <c:pt idx="6593">
                  <c:v>0.61494325612791623</c:v>
                </c:pt>
                <c:pt idx="6594">
                  <c:v>0.59837498933720035</c:v>
                </c:pt>
                <c:pt idx="6595">
                  <c:v>0.67779180534833017</c:v>
                </c:pt>
                <c:pt idx="6596">
                  <c:v>0.65554762315058701</c:v>
                </c:pt>
                <c:pt idx="6597">
                  <c:v>0.65814281070538516</c:v>
                </c:pt>
                <c:pt idx="6598">
                  <c:v>0.74537311662118877</c:v>
                </c:pt>
                <c:pt idx="6599">
                  <c:v>0.75335228326021131</c:v>
                </c:pt>
                <c:pt idx="6600">
                  <c:v>0.79582635579028727</c:v>
                </c:pt>
                <c:pt idx="6601">
                  <c:v>0.7996441632895126</c:v>
                </c:pt>
                <c:pt idx="6602">
                  <c:v>0.79198423127463868</c:v>
                </c:pt>
                <c:pt idx="6603">
                  <c:v>0.74976107040458739</c:v>
                </c:pt>
                <c:pt idx="6604">
                  <c:v>0.78183042134573622</c:v>
                </c:pt>
                <c:pt idx="6605">
                  <c:v>0.6421895184781784</c:v>
                </c:pt>
                <c:pt idx="6606">
                  <c:v>0.55966202128826947</c:v>
                </c:pt>
                <c:pt idx="6607">
                  <c:v>0.56986055649277156</c:v>
                </c:pt>
                <c:pt idx="6608">
                  <c:v>0.55623565416985465</c:v>
                </c:pt>
                <c:pt idx="6609">
                  <c:v>0.61557023373755126</c:v>
                </c:pt>
                <c:pt idx="6610">
                  <c:v>0.72844090899499925</c:v>
                </c:pt>
                <c:pt idx="6611">
                  <c:v>0.73442875909669081</c:v>
                </c:pt>
                <c:pt idx="6612">
                  <c:v>0.75276783658776503</c:v>
                </c:pt>
                <c:pt idx="6613">
                  <c:v>0.73788124661923182</c:v>
                </c:pt>
                <c:pt idx="6614">
                  <c:v>0.84582937655970492</c:v>
                </c:pt>
                <c:pt idx="6615">
                  <c:v>0.91421875000000008</c:v>
                </c:pt>
                <c:pt idx="6616">
                  <c:v>0.86561078204137687</c:v>
                </c:pt>
                <c:pt idx="6617">
                  <c:v>0.79245805297674832</c:v>
                </c:pt>
                <c:pt idx="6618">
                  <c:v>0.7855182469231099</c:v>
                </c:pt>
                <c:pt idx="6619">
                  <c:v>0.8812103532898089</c:v>
                </c:pt>
                <c:pt idx="6620">
                  <c:v>0.93331358902216288</c:v>
                </c:pt>
                <c:pt idx="6621">
                  <c:v>0.94147731813217539</c:v>
                </c:pt>
                <c:pt idx="6622">
                  <c:v>1.0251541090887846</c:v>
                </c:pt>
                <c:pt idx="6623">
                  <c:v>1.011424835787442</c:v>
                </c:pt>
                <c:pt idx="6624">
                  <c:v>1.0078614850886409</c:v>
                </c:pt>
                <c:pt idx="6625">
                  <c:v>0.96474108769190747</c:v>
                </c:pt>
                <c:pt idx="6626">
                  <c:v>0.89636578284036883</c:v>
                </c:pt>
                <c:pt idx="6627">
                  <c:v>0.91479993572232043</c:v>
                </c:pt>
                <c:pt idx="6628">
                  <c:v>0.81750335257419393</c:v>
                </c:pt>
                <c:pt idx="6629">
                  <c:v>0.72697610519601596</c:v>
                </c:pt>
                <c:pt idx="6630">
                  <c:v>0.65944696515709278</c:v>
                </c:pt>
                <c:pt idx="6631">
                  <c:v>0.66466016615473422</c:v>
                </c:pt>
                <c:pt idx="6632">
                  <c:v>0.69991539937684422</c:v>
                </c:pt>
                <c:pt idx="6633">
                  <c:v>0.696114912175409</c:v>
                </c:pt>
                <c:pt idx="6634">
                  <c:v>0.74059540731546181</c:v>
                </c:pt>
                <c:pt idx="6635">
                  <c:v>0.74772990919636784</c:v>
                </c:pt>
                <c:pt idx="6636">
                  <c:v>0.76970138973299296</c:v>
                </c:pt>
                <c:pt idx="6637">
                  <c:v>0.74423841597013707</c:v>
                </c:pt>
                <c:pt idx="6638">
                  <c:v>0.75650739975368941</c:v>
                </c:pt>
                <c:pt idx="6639">
                  <c:v>0.75097620124131692</c:v>
                </c:pt>
                <c:pt idx="6640">
                  <c:v>0.73874925786661383</c:v>
                </c:pt>
                <c:pt idx="6641">
                  <c:v>0.68448389086784334</c:v>
                </c:pt>
                <c:pt idx="6642">
                  <c:v>0.66324506696656782</c:v>
                </c:pt>
                <c:pt idx="6643">
                  <c:v>0.66488514648458796</c:v>
                </c:pt>
                <c:pt idx="6644">
                  <c:v>0.7404239319452931</c:v>
                </c:pt>
                <c:pt idx="6645">
                  <c:v>0.81395942976853508</c:v>
                </c:pt>
                <c:pt idx="6646">
                  <c:v>0.98121007140172867</c:v>
                </c:pt>
                <c:pt idx="6647">
                  <c:v>0.97488048932569271</c:v>
                </c:pt>
                <c:pt idx="6648">
                  <c:v>1.0071068176224465</c:v>
                </c:pt>
                <c:pt idx="6649">
                  <c:v>1.0448846377560912</c:v>
                </c:pt>
                <c:pt idx="6650">
                  <c:v>0.95568375508063452</c:v>
                </c:pt>
                <c:pt idx="6651">
                  <c:v>0.77910964392166915</c:v>
                </c:pt>
                <c:pt idx="6652">
                  <c:v>0.60477913233818736</c:v>
                </c:pt>
                <c:pt idx="6653">
                  <c:v>0.40706964317825672</c:v>
                </c:pt>
                <c:pt idx="6654">
                  <c:v>0.27666372851476423</c:v>
                </c:pt>
                <c:pt idx="6655">
                  <c:v>0.17456469497027699</c:v>
                </c:pt>
                <c:pt idx="6656">
                  <c:v>0.13245501018245293</c:v>
                </c:pt>
                <c:pt idx="6657">
                  <c:v>0.14997042204679434</c:v>
                </c:pt>
                <c:pt idx="6658">
                  <c:v>0.21803452638452434</c:v>
                </c:pt>
                <c:pt idx="6659">
                  <c:v>0.30978926856706651</c:v>
                </c:pt>
                <c:pt idx="6660">
                  <c:v>0.46069743589743589</c:v>
                </c:pt>
                <c:pt idx="6661">
                  <c:v>0.54988403876418457</c:v>
                </c:pt>
                <c:pt idx="6662">
                  <c:v>0.61551095279738921</c:v>
                </c:pt>
                <c:pt idx="6663">
                  <c:v>0.65492133109071948</c:v>
                </c:pt>
                <c:pt idx="6664">
                  <c:v>0.6211898641204554</c:v>
                </c:pt>
                <c:pt idx="6665">
                  <c:v>0.62367162870325898</c:v>
                </c:pt>
                <c:pt idx="6666">
                  <c:v>0.55044705110327286</c:v>
                </c:pt>
                <c:pt idx="6667">
                  <c:v>0.60649714349725548</c:v>
                </c:pt>
                <c:pt idx="6668">
                  <c:v>0.63734043311859656</c:v>
                </c:pt>
                <c:pt idx="6669">
                  <c:v>0.80370569280343718</c:v>
                </c:pt>
                <c:pt idx="6670">
                  <c:v>0.82617533466910587</c:v>
                </c:pt>
                <c:pt idx="6671">
                  <c:v>0.91540130151843824</c:v>
                </c:pt>
                <c:pt idx="6672">
                  <c:v>0.92417777194249318</c:v>
                </c:pt>
                <c:pt idx="6673">
                  <c:v>0.89192542418348875</c:v>
                </c:pt>
                <c:pt idx="6674">
                  <c:v>0.86862219242373451</c:v>
                </c:pt>
                <c:pt idx="6675">
                  <c:v>0.80883752995633762</c:v>
                </c:pt>
                <c:pt idx="6676">
                  <c:v>0.71506446574587323</c:v>
                </c:pt>
                <c:pt idx="6677">
                  <c:v>0.56017685466042877</c:v>
                </c:pt>
                <c:pt idx="6678">
                  <c:v>0.45984761647899675</c:v>
                </c:pt>
                <c:pt idx="6679">
                  <c:v>0.39269416221801273</c:v>
                </c:pt>
                <c:pt idx="6680">
                  <c:v>0.34753158509395898</c:v>
                </c:pt>
                <c:pt idx="6681">
                  <c:v>0.340676748901656</c:v>
                </c:pt>
                <c:pt idx="6682">
                  <c:v>0.39201211836743399</c:v>
                </c:pt>
                <c:pt idx="6683">
                  <c:v>0.39547823015102002</c:v>
                </c:pt>
                <c:pt idx="6684">
                  <c:v>0.4289572222852604</c:v>
                </c:pt>
                <c:pt idx="6685">
                  <c:v>0.45924388366723418</c:v>
                </c:pt>
                <c:pt idx="6686">
                  <c:v>0.43083060605336704</c:v>
                </c:pt>
                <c:pt idx="6687">
                  <c:v>0.40124979444170367</c:v>
                </c:pt>
                <c:pt idx="6688">
                  <c:v>0.37594953879544218</c:v>
                </c:pt>
                <c:pt idx="6689">
                  <c:v>0.38800959232613913</c:v>
                </c:pt>
                <c:pt idx="6690">
                  <c:v>0.42259298520532795</c:v>
                </c:pt>
                <c:pt idx="6691">
                  <c:v>0.52022716469440344</c:v>
                </c:pt>
                <c:pt idx="6692">
                  <c:v>0.63505948215535335</c:v>
                </c:pt>
                <c:pt idx="6693">
                  <c:v>0.73939675443434849</c:v>
                </c:pt>
                <c:pt idx="6694">
                  <c:v>0.87402442094662647</c:v>
                </c:pt>
                <c:pt idx="6695">
                  <c:v>1.0090542236088034</c:v>
                </c:pt>
                <c:pt idx="6696">
                  <c:v>1.0671798460461861</c:v>
                </c:pt>
                <c:pt idx="6697">
                  <c:v>1.0288482009793485</c:v>
                </c:pt>
                <c:pt idx="6698">
                  <c:v>0.9631256420247245</c:v>
                </c:pt>
                <c:pt idx="6699">
                  <c:v>0.99314753982550963</c:v>
                </c:pt>
                <c:pt idx="6700">
                  <c:v>0.96451332056416506</c:v>
                </c:pt>
                <c:pt idx="6701">
                  <c:v>0.85728007419183905</c:v>
                </c:pt>
                <c:pt idx="6702">
                  <c:v>0.72203907203907203</c:v>
                </c:pt>
                <c:pt idx="6703">
                  <c:v>0.5753370896756651</c:v>
                </c:pt>
                <c:pt idx="6704">
                  <c:v>0.46131571327032939</c:v>
                </c:pt>
                <c:pt idx="6705">
                  <c:v>0.43896589159029514</c:v>
                </c:pt>
                <c:pt idx="6706">
                  <c:v>0.40415559677176799</c:v>
                </c:pt>
                <c:pt idx="6707">
                  <c:v>0.34446859048870471</c:v>
                </c:pt>
                <c:pt idx="6708">
                  <c:v>0.34540051679586564</c:v>
                </c:pt>
                <c:pt idx="6709">
                  <c:v>0.38048755024273112</c:v>
                </c:pt>
                <c:pt idx="6710">
                  <c:v>0.40724516027490687</c:v>
                </c:pt>
                <c:pt idx="6711">
                  <c:v>0.39259927797833932</c:v>
                </c:pt>
                <c:pt idx="6712">
                  <c:v>0.34795427632373915</c:v>
                </c:pt>
                <c:pt idx="6713">
                  <c:v>0.32300411424766345</c:v>
                </c:pt>
                <c:pt idx="6714">
                  <c:v>0.32994747795064905</c:v>
                </c:pt>
                <c:pt idx="6715">
                  <c:v>0.34026424663018817</c:v>
                </c:pt>
                <c:pt idx="6716">
                  <c:v>0.39151494429723338</c:v>
                </c:pt>
                <c:pt idx="6717">
                  <c:v>0.40288379983036476</c:v>
                </c:pt>
                <c:pt idx="6718">
                  <c:v>0.40888760176336203</c:v>
                </c:pt>
                <c:pt idx="6719">
                  <c:v>0.46728009338735155</c:v>
                </c:pt>
                <c:pt idx="6720">
                  <c:v>0.47523348322379805</c:v>
                </c:pt>
                <c:pt idx="6721">
                  <c:v>0.52369601794727982</c:v>
                </c:pt>
                <c:pt idx="6722">
                  <c:v>0.57931947201615996</c:v>
                </c:pt>
                <c:pt idx="6723">
                  <c:v>0.56451669534075344</c:v>
                </c:pt>
                <c:pt idx="6724">
                  <c:v>0.55068474296331982</c:v>
                </c:pt>
                <c:pt idx="6725">
                  <c:v>0.50752019468009602</c:v>
                </c:pt>
                <c:pt idx="6726">
                  <c:v>0.42923829759835169</c:v>
                </c:pt>
                <c:pt idx="6727">
                  <c:v>0.37037146750399902</c:v>
                </c:pt>
                <c:pt idx="6728">
                  <c:v>0.30950667183433922</c:v>
                </c:pt>
                <c:pt idx="6729">
                  <c:v>0.28591274611952661</c:v>
                </c:pt>
                <c:pt idx="6730">
                  <c:v>0.36193137544670451</c:v>
                </c:pt>
                <c:pt idx="6731">
                  <c:v>0.42419363641325109</c:v>
                </c:pt>
                <c:pt idx="6732">
                  <c:v>0.4418406827099855</c:v>
                </c:pt>
                <c:pt idx="6733">
                  <c:v>0.48584305701487585</c:v>
                </c:pt>
                <c:pt idx="6734">
                  <c:v>0.50769570254316765</c:v>
                </c:pt>
                <c:pt idx="6735">
                  <c:v>0.47172956576394393</c:v>
                </c:pt>
                <c:pt idx="6736">
                  <c:v>0.32187640505570264</c:v>
                </c:pt>
                <c:pt idx="6737">
                  <c:v>0.24776003116478376</c:v>
                </c:pt>
                <c:pt idx="6738">
                  <c:v>0.23588358098980719</c:v>
                </c:pt>
                <c:pt idx="6739">
                  <c:v>0.26328319162851538</c:v>
                </c:pt>
                <c:pt idx="6740">
                  <c:v>0.28486406437732265</c:v>
                </c:pt>
                <c:pt idx="6741">
                  <c:v>0.32574558734023129</c:v>
                </c:pt>
                <c:pt idx="6742">
                  <c:v>0.3733084308135915</c:v>
                </c:pt>
                <c:pt idx="6743">
                  <c:v>0.41717812446425512</c:v>
                </c:pt>
                <c:pt idx="6744">
                  <c:v>0.43702970996573287</c:v>
                </c:pt>
                <c:pt idx="6745">
                  <c:v>0.44780689262318424</c:v>
                </c:pt>
                <c:pt idx="6746">
                  <c:v>0.44284549675681423</c:v>
                </c:pt>
                <c:pt idx="6747">
                  <c:v>0.42141916707088906</c:v>
                </c:pt>
                <c:pt idx="6748">
                  <c:v>0.33858939518422543</c:v>
                </c:pt>
                <c:pt idx="6749">
                  <c:v>0.24812649687105665</c:v>
                </c:pt>
                <c:pt idx="6750">
                  <c:v>0.19571953432782965</c:v>
                </c:pt>
                <c:pt idx="6751">
                  <c:v>0.18439339524406573</c:v>
                </c:pt>
                <c:pt idx="6752">
                  <c:v>0.16859640581673477</c:v>
                </c:pt>
                <c:pt idx="6753">
                  <c:v>0.15074043904171106</c:v>
                </c:pt>
                <c:pt idx="6754">
                  <c:v>0.16004116004116004</c:v>
                </c:pt>
                <c:pt idx="6755">
                  <c:v>0.16486876386107702</c:v>
                </c:pt>
                <c:pt idx="6756">
                  <c:v>0.15540555065889888</c:v>
                </c:pt>
                <c:pt idx="6757">
                  <c:v>0.16074551209686347</c:v>
                </c:pt>
                <c:pt idx="6758">
                  <c:v>0.15466338371748403</c:v>
                </c:pt>
                <c:pt idx="6759">
                  <c:v>0.13976450105378904</c:v>
                </c:pt>
                <c:pt idx="6760">
                  <c:v>0.10311917053490086</c:v>
                </c:pt>
                <c:pt idx="6761">
                  <c:v>7.8643221488065781E-2</c:v>
                </c:pt>
                <c:pt idx="6762">
                  <c:v>6.4236148876465587E-2</c:v>
                </c:pt>
                <c:pt idx="6763">
                  <c:v>5.8780875748502978E-2</c:v>
                </c:pt>
                <c:pt idx="6764">
                  <c:v>5.4140207959116553E-2</c:v>
                </c:pt>
                <c:pt idx="6765">
                  <c:v>4.7673130193905823E-2</c:v>
                </c:pt>
                <c:pt idx="6766">
                  <c:v>4.423053490922383E-2</c:v>
                </c:pt>
                <c:pt idx="6767">
                  <c:v>5.022180487646926E-2</c:v>
                </c:pt>
                <c:pt idx="6768">
                  <c:v>6.1805112357663491E-2</c:v>
                </c:pt>
                <c:pt idx="6769">
                  <c:v>6.8655802401932434E-2</c:v>
                </c:pt>
                <c:pt idx="6770">
                  <c:v>7.7885858104890834E-2</c:v>
                </c:pt>
                <c:pt idx="6771">
                  <c:v>7.9623513870541604E-2</c:v>
                </c:pt>
                <c:pt idx="6772">
                  <c:v>6.7446536282215308E-2</c:v>
                </c:pt>
                <c:pt idx="6773">
                  <c:v>5.1122923926037088E-2</c:v>
                </c:pt>
                <c:pt idx="6774">
                  <c:v>4.8636214262241212E-2</c:v>
                </c:pt>
                <c:pt idx="6775">
                  <c:v>5.9045040089699387E-2</c:v>
                </c:pt>
                <c:pt idx="6776">
                  <c:v>5.8751684636118594E-2</c:v>
                </c:pt>
                <c:pt idx="6777">
                  <c:v>5.5896103896103895E-2</c:v>
                </c:pt>
                <c:pt idx="6778">
                  <c:v>7.0296822742474924E-2</c:v>
                </c:pt>
                <c:pt idx="6779">
                  <c:v>0.1082968118930996</c:v>
                </c:pt>
                <c:pt idx="6780">
                  <c:v>0.15325703283773667</c:v>
                </c:pt>
                <c:pt idx="6781">
                  <c:v>0.24043834663303687</c:v>
                </c:pt>
                <c:pt idx="6782">
                  <c:v>0.28375991037573245</c:v>
                </c:pt>
                <c:pt idx="6783">
                  <c:v>0.32165174801553786</c:v>
                </c:pt>
                <c:pt idx="6784">
                  <c:v>0.36196984924623121</c:v>
                </c:pt>
                <c:pt idx="6785">
                  <c:v>0.40397217461437646</c:v>
                </c:pt>
                <c:pt idx="6786">
                  <c:v>0.4858871812052431</c:v>
                </c:pt>
                <c:pt idx="6787">
                  <c:v>0.53428888888888892</c:v>
                </c:pt>
                <c:pt idx="6788">
                  <c:v>0.61235113566605281</c:v>
                </c:pt>
                <c:pt idx="6789">
                  <c:v>0.66748411548322373</c:v>
                </c:pt>
                <c:pt idx="6790">
                  <c:v>0.69101209615679071</c:v>
                </c:pt>
                <c:pt idx="6791">
                  <c:v>0.64064801178203246</c:v>
                </c:pt>
                <c:pt idx="6792">
                  <c:v>0.56925423728813562</c:v>
                </c:pt>
                <c:pt idx="6793">
                  <c:v>0.45817654572444511</c:v>
                </c:pt>
                <c:pt idx="6794">
                  <c:v>0.34887337572573951</c:v>
                </c:pt>
                <c:pt idx="6795">
                  <c:v>0.29865930068045543</c:v>
                </c:pt>
                <c:pt idx="6796">
                  <c:v>0.22919508867667124</c:v>
                </c:pt>
                <c:pt idx="6797">
                  <c:v>0.20356266942042081</c:v>
                </c:pt>
                <c:pt idx="6798">
                  <c:v>0.19959078608672695</c:v>
                </c:pt>
                <c:pt idx="6799">
                  <c:v>0.23255237898647949</c:v>
                </c:pt>
                <c:pt idx="6800">
                  <c:v>0.27931698334309873</c:v>
                </c:pt>
                <c:pt idx="6801">
                  <c:v>0.30725720820060443</c:v>
                </c:pt>
                <c:pt idx="6802">
                  <c:v>0.3658835758835759</c:v>
                </c:pt>
                <c:pt idx="6803">
                  <c:v>0.37401607253245411</c:v>
                </c:pt>
                <c:pt idx="6804">
                  <c:v>0.41163934080310605</c:v>
                </c:pt>
                <c:pt idx="6805">
                  <c:v>0.45574678619756426</c:v>
                </c:pt>
                <c:pt idx="6806">
                  <c:v>0.57200842178376843</c:v>
                </c:pt>
                <c:pt idx="6807">
                  <c:v>0.67415268002165674</c:v>
                </c:pt>
                <c:pt idx="6808">
                  <c:v>0.66350836440695227</c:v>
                </c:pt>
                <c:pt idx="6809">
                  <c:v>0.69424219684831767</c:v>
                </c:pt>
                <c:pt idx="6810">
                  <c:v>0.72492921438532731</c:v>
                </c:pt>
                <c:pt idx="6811">
                  <c:v>0.80182408058624677</c:v>
                </c:pt>
                <c:pt idx="6812">
                  <c:v>0.8544501610809252</c:v>
                </c:pt>
                <c:pt idx="6813">
                  <c:v>0.99994739887433592</c:v>
                </c:pt>
                <c:pt idx="6814">
                  <c:v>1.0797732218531668</c:v>
                </c:pt>
                <c:pt idx="6815">
                  <c:v>1.1820068775364789</c:v>
                </c:pt>
                <c:pt idx="6816">
                  <c:v>1.1826479691744047</c:v>
                </c:pt>
                <c:pt idx="6817">
                  <c:v>1.1401598144090734</c:v>
                </c:pt>
                <c:pt idx="6818">
                  <c:v>1.0615631519820252</c:v>
                </c:pt>
                <c:pt idx="6819">
                  <c:v>1.0500871080139371</c:v>
                </c:pt>
                <c:pt idx="6820">
                  <c:v>1.0241736839090338</c:v>
                </c:pt>
                <c:pt idx="6821">
                  <c:v>0.93873171694250546</c:v>
                </c:pt>
                <c:pt idx="6822">
                  <c:v>0.86317162902121836</c:v>
                </c:pt>
                <c:pt idx="6823">
                  <c:v>0.78327517699025806</c:v>
                </c:pt>
                <c:pt idx="6824">
                  <c:v>0.78540230806218958</c:v>
                </c:pt>
                <c:pt idx="6825">
                  <c:v>0.8292423054500131</c:v>
                </c:pt>
                <c:pt idx="6826">
                  <c:v>0.88901287211572932</c:v>
                </c:pt>
                <c:pt idx="6827">
                  <c:v>0.82809681447856154</c:v>
                </c:pt>
                <c:pt idx="6828">
                  <c:v>0.86908728179551131</c:v>
                </c:pt>
                <c:pt idx="6829">
                  <c:v>0.82208859490879926</c:v>
                </c:pt>
                <c:pt idx="6830">
                  <c:v>0.92852611545781349</c:v>
                </c:pt>
                <c:pt idx="6831">
                  <c:v>0.86833619498303949</c:v>
                </c:pt>
                <c:pt idx="6832">
                  <c:v>0.89907168854537267</c:v>
                </c:pt>
                <c:pt idx="6833">
                  <c:v>0.86002307645594223</c:v>
                </c:pt>
                <c:pt idx="6834">
                  <c:v>0.84901768786849729</c:v>
                </c:pt>
                <c:pt idx="6835">
                  <c:v>0.86512869998429109</c:v>
                </c:pt>
                <c:pt idx="6836">
                  <c:v>0.87319383366355774</c:v>
                </c:pt>
                <c:pt idx="6837">
                  <c:v>0.84657119753762688</c:v>
                </c:pt>
                <c:pt idx="6838">
                  <c:v>0.80888914311863624</c:v>
                </c:pt>
                <c:pt idx="6839">
                  <c:v>0.80697732839289071</c:v>
                </c:pt>
                <c:pt idx="6840">
                  <c:v>0.80197303518579421</c:v>
                </c:pt>
                <c:pt idx="6841">
                  <c:v>0.66546809199870427</c:v>
                </c:pt>
                <c:pt idx="6842">
                  <c:v>0.60639226482239972</c:v>
                </c:pt>
                <c:pt idx="6843">
                  <c:v>0.46446106699179496</c:v>
                </c:pt>
                <c:pt idx="6844">
                  <c:v>0.29955872369314324</c:v>
                </c:pt>
                <c:pt idx="6845">
                  <c:v>0.21954929149027858</c:v>
                </c:pt>
                <c:pt idx="6846">
                  <c:v>0.17096270903377503</c:v>
                </c:pt>
                <c:pt idx="6847">
                  <c:v>0.1628331740469364</c:v>
                </c:pt>
                <c:pt idx="6848">
                  <c:v>0.17245043245425762</c:v>
                </c:pt>
                <c:pt idx="6849">
                  <c:v>0.16582071395612233</c:v>
                </c:pt>
                <c:pt idx="6850">
                  <c:v>0.19448991305456942</c:v>
                </c:pt>
                <c:pt idx="6851">
                  <c:v>0.25646110263673999</c:v>
                </c:pt>
                <c:pt idx="6852">
                  <c:v>0.32817514397502973</c:v>
                </c:pt>
                <c:pt idx="6853">
                  <c:v>0.38142715696884572</c:v>
                </c:pt>
                <c:pt idx="6854">
                  <c:v>0.43050661841729365</c:v>
                </c:pt>
                <c:pt idx="6855">
                  <c:v>0.48363747819116337</c:v>
                </c:pt>
                <c:pt idx="6856">
                  <c:v>0.53774558226319824</c:v>
                </c:pt>
                <c:pt idx="6857">
                  <c:v>0.54380664652567989</c:v>
                </c:pt>
                <c:pt idx="6858">
                  <c:v>0.61672442504163105</c:v>
                </c:pt>
                <c:pt idx="6859">
                  <c:v>0.6791241435484644</c:v>
                </c:pt>
                <c:pt idx="6860">
                  <c:v>0.78284529670899194</c:v>
                </c:pt>
                <c:pt idx="6861">
                  <c:v>0.86143581980769779</c:v>
                </c:pt>
                <c:pt idx="6862">
                  <c:v>0.83585492227979286</c:v>
                </c:pt>
                <c:pt idx="6863">
                  <c:v>0.83332294652872996</c:v>
                </c:pt>
                <c:pt idx="6864">
                  <c:v>0.90135364352945091</c:v>
                </c:pt>
                <c:pt idx="6865">
                  <c:v>1.0075730640688332</c:v>
                </c:pt>
                <c:pt idx="6866">
                  <c:v>0.98117370724936825</c:v>
                </c:pt>
                <c:pt idx="6867">
                  <c:v>0.93597842288310007</c:v>
                </c:pt>
                <c:pt idx="6868">
                  <c:v>0.86198269571562591</c:v>
                </c:pt>
                <c:pt idx="6869">
                  <c:v>0.79131307896612046</c:v>
                </c:pt>
                <c:pt idx="6870">
                  <c:v>0.70290730212966512</c:v>
                </c:pt>
                <c:pt idx="6871">
                  <c:v>0.66460242754520682</c:v>
                </c:pt>
                <c:pt idx="6872">
                  <c:v>0.61822711231056671</c:v>
                </c:pt>
                <c:pt idx="6873">
                  <c:v>0.63509069420893072</c:v>
                </c:pt>
                <c:pt idx="6874">
                  <c:v>0.59085322134589779</c:v>
                </c:pt>
                <c:pt idx="6875">
                  <c:v>0.6130720673329827</c:v>
                </c:pt>
                <c:pt idx="6876">
                  <c:v>0.62445449496151706</c:v>
                </c:pt>
                <c:pt idx="6877">
                  <c:v>0.62631877175467465</c:v>
                </c:pt>
                <c:pt idx="6878">
                  <c:v>0.54740222140337946</c:v>
                </c:pt>
                <c:pt idx="6879">
                  <c:v>0.51105695693879138</c:v>
                </c:pt>
                <c:pt idx="6880">
                  <c:v>0.46467551622418884</c:v>
                </c:pt>
                <c:pt idx="6881">
                  <c:v>0.42127720096714544</c:v>
                </c:pt>
                <c:pt idx="6882">
                  <c:v>0.42861100617050746</c:v>
                </c:pt>
                <c:pt idx="6883">
                  <c:v>0.53125417568614874</c:v>
                </c:pt>
                <c:pt idx="6884">
                  <c:v>0.5581684919489488</c:v>
                </c:pt>
                <c:pt idx="6885">
                  <c:v>0.5589813551614371</c:v>
                </c:pt>
                <c:pt idx="6886">
                  <c:v>0.51871463083694613</c:v>
                </c:pt>
                <c:pt idx="6887">
                  <c:v>0.47838177845461166</c:v>
                </c:pt>
                <c:pt idx="6888">
                  <c:v>0.51140732224338015</c:v>
                </c:pt>
                <c:pt idx="6889">
                  <c:v>0.52629957643434744</c:v>
                </c:pt>
                <c:pt idx="6890">
                  <c:v>0.44318715740015663</c:v>
                </c:pt>
                <c:pt idx="6891">
                  <c:v>0.36257013715710723</c:v>
                </c:pt>
                <c:pt idx="6892">
                  <c:v>0.28953466286799623</c:v>
                </c:pt>
                <c:pt idx="6893">
                  <c:v>0.19901046486794333</c:v>
                </c:pt>
                <c:pt idx="6894">
                  <c:v>0.17433865898376114</c:v>
                </c:pt>
                <c:pt idx="6895">
                  <c:v>0.16611176100062994</c:v>
                </c:pt>
                <c:pt idx="6896">
                  <c:v>0.1496415770609319</c:v>
                </c:pt>
                <c:pt idx="6897">
                  <c:v>0.20946514341537539</c:v>
                </c:pt>
                <c:pt idx="6898">
                  <c:v>0.30238569659109266</c:v>
                </c:pt>
                <c:pt idx="6899">
                  <c:v>0.41068348426045709</c:v>
                </c:pt>
                <c:pt idx="6900">
                  <c:v>0.52905844155844151</c:v>
                </c:pt>
                <c:pt idx="6901">
                  <c:v>0.57569366457585802</c:v>
                </c:pt>
                <c:pt idx="6902">
                  <c:v>0.58004337188612098</c:v>
                </c:pt>
                <c:pt idx="6903">
                  <c:v>0.5472634073747451</c:v>
                </c:pt>
                <c:pt idx="6904">
                  <c:v>0.50161359997967114</c:v>
                </c:pt>
                <c:pt idx="6905">
                  <c:v>0.54260186879876704</c:v>
                </c:pt>
                <c:pt idx="6906">
                  <c:v>0.62057140037501246</c:v>
                </c:pt>
                <c:pt idx="6907">
                  <c:v>0.67236716717747969</c:v>
                </c:pt>
                <c:pt idx="6908">
                  <c:v>0.69135279637913227</c:v>
                </c:pt>
                <c:pt idx="6909">
                  <c:v>0.7369802064913582</c:v>
                </c:pt>
                <c:pt idx="6910">
                  <c:v>0.89393889347646571</c:v>
                </c:pt>
                <c:pt idx="6911">
                  <c:v>0.73467379538819833</c:v>
                </c:pt>
                <c:pt idx="6912">
                  <c:v>0.71472002262443435</c:v>
                </c:pt>
                <c:pt idx="6913">
                  <c:v>0.55955820502505205</c:v>
                </c:pt>
                <c:pt idx="6914">
                  <c:v>0.46836143600339447</c:v>
                </c:pt>
                <c:pt idx="6915">
                  <c:v>0.41691962995085291</c:v>
                </c:pt>
                <c:pt idx="6916">
                  <c:v>0.3431704885343968</c:v>
                </c:pt>
                <c:pt idx="6917">
                  <c:v>0.2446665591917889</c:v>
                </c:pt>
                <c:pt idx="6918">
                  <c:v>0.21570431172752144</c:v>
                </c:pt>
                <c:pt idx="6919">
                  <c:v>0.19083037300177619</c:v>
                </c:pt>
                <c:pt idx="6920">
                  <c:v>0.15400816397429215</c:v>
                </c:pt>
                <c:pt idx="6921">
                  <c:v>0.13968484434385278</c:v>
                </c:pt>
                <c:pt idx="6922">
                  <c:v>0.14871871786081589</c:v>
                </c:pt>
                <c:pt idx="6923">
                  <c:v>0.14640721817588867</c:v>
                </c:pt>
                <c:pt idx="6924">
                  <c:v>0.13818356182297681</c:v>
                </c:pt>
                <c:pt idx="6925">
                  <c:v>0.11887600079842091</c:v>
                </c:pt>
                <c:pt idx="6926">
                  <c:v>0.10767388258688482</c:v>
                </c:pt>
                <c:pt idx="6927">
                  <c:v>8.9079925650557612E-2</c:v>
                </c:pt>
                <c:pt idx="6928">
                  <c:v>7.4085507022688693E-2</c:v>
                </c:pt>
                <c:pt idx="6929">
                  <c:v>6.6600993661127289E-2</c:v>
                </c:pt>
                <c:pt idx="6930">
                  <c:v>7.9072664975748663E-2</c:v>
                </c:pt>
                <c:pt idx="6931">
                  <c:v>0.14777473714532624</c:v>
                </c:pt>
                <c:pt idx="6932">
                  <c:v>0.24256210096414818</c:v>
                </c:pt>
                <c:pt idx="6933">
                  <c:v>0.31220350073613606</c:v>
                </c:pt>
                <c:pt idx="6934">
                  <c:v>0.46129835829406646</c:v>
                </c:pt>
                <c:pt idx="6935">
                  <c:v>0.55576625264688218</c:v>
                </c:pt>
                <c:pt idx="6936">
                  <c:v>0.72207792207792199</c:v>
                </c:pt>
                <c:pt idx="6937">
                  <c:v>0.85426548199612529</c:v>
                </c:pt>
                <c:pt idx="6938">
                  <c:v>0.93610310327285062</c:v>
                </c:pt>
                <c:pt idx="6939">
                  <c:v>0.90637621664569945</c:v>
                </c:pt>
                <c:pt idx="6940">
                  <c:v>0.91574585635359118</c:v>
                </c:pt>
                <c:pt idx="6941">
                  <c:v>0.72726557789603374</c:v>
                </c:pt>
                <c:pt idx="6942">
                  <c:v>0.60334010381403735</c:v>
                </c:pt>
                <c:pt idx="6943">
                  <c:v>0.63298272783979692</c:v>
                </c:pt>
                <c:pt idx="6944">
                  <c:v>0.64492320819112625</c:v>
                </c:pt>
                <c:pt idx="6945">
                  <c:v>0.6751620321973657</c:v>
                </c:pt>
                <c:pt idx="6946">
                  <c:v>0.72215581419733677</c:v>
                </c:pt>
                <c:pt idx="6947">
                  <c:v>0.72632370135293134</c:v>
                </c:pt>
                <c:pt idx="6948">
                  <c:v>0.78924252068746015</c:v>
                </c:pt>
                <c:pt idx="6949">
                  <c:v>0.81804274756528483</c:v>
                </c:pt>
                <c:pt idx="6950">
                  <c:v>0.84832259497889362</c:v>
                </c:pt>
                <c:pt idx="6951">
                  <c:v>0.83913839477431451</c:v>
                </c:pt>
                <c:pt idx="6952">
                  <c:v>0.77788302154866207</c:v>
                </c:pt>
                <c:pt idx="6953">
                  <c:v>0.73774873154740783</c:v>
                </c:pt>
                <c:pt idx="6954">
                  <c:v>0.71340647000388713</c:v>
                </c:pt>
                <c:pt idx="6955">
                  <c:v>0.74414464405447267</c:v>
                </c:pt>
                <c:pt idx="6956">
                  <c:v>0.80674258091844608</c:v>
                </c:pt>
                <c:pt idx="6957">
                  <c:v>0.88098388098388092</c:v>
                </c:pt>
                <c:pt idx="6958">
                  <c:v>0.93998291957475621</c:v>
                </c:pt>
                <c:pt idx="6959">
                  <c:v>1.0533782924036137</c:v>
                </c:pt>
                <c:pt idx="6960">
                  <c:v>1.0312469485401814</c:v>
                </c:pt>
                <c:pt idx="6961">
                  <c:v>0.98894393228568622</c:v>
                </c:pt>
                <c:pt idx="6962">
                  <c:v>0.91047984391018211</c:v>
                </c:pt>
                <c:pt idx="6963">
                  <c:v>0.78079318256309416</c:v>
                </c:pt>
                <c:pt idx="6964">
                  <c:v>0.64475063189692372</c:v>
                </c:pt>
                <c:pt idx="6965">
                  <c:v>0.47323531800828522</c:v>
                </c:pt>
                <c:pt idx="6966">
                  <c:v>0.31326761285511201</c:v>
                </c:pt>
                <c:pt idx="6967">
                  <c:v>0.19892962625746705</c:v>
                </c:pt>
                <c:pt idx="6968">
                  <c:v>0.11893314769291015</c:v>
                </c:pt>
                <c:pt idx="6969">
                  <c:v>7.0525799782604065E-2</c:v>
                </c:pt>
                <c:pt idx="6970">
                  <c:v>4.2643375505747858E-2</c:v>
                </c:pt>
                <c:pt idx="6971">
                  <c:v>2.2784919895072302E-2</c:v>
                </c:pt>
                <c:pt idx="6972">
                  <c:v>1.5360583181463158E-2</c:v>
                </c:pt>
                <c:pt idx="6973">
                  <c:v>1.3060523301911726E-2</c:v>
                </c:pt>
                <c:pt idx="6974">
                  <c:v>1.6065715128548413E-2</c:v>
                </c:pt>
                <c:pt idx="6975">
                  <c:v>1.453242990440992E-2</c:v>
                </c:pt>
                <c:pt idx="6976">
                  <c:v>1.7254716575701576E-2</c:v>
                </c:pt>
                <c:pt idx="6977">
                  <c:v>1.9609493351287661E-2</c:v>
                </c:pt>
                <c:pt idx="6978">
                  <c:v>2.5922233300099701E-2</c:v>
                </c:pt>
                <c:pt idx="6979">
                  <c:v>3.3480702592902374E-2</c:v>
                </c:pt>
                <c:pt idx="6980">
                  <c:v>3.9676840215439851E-2</c:v>
                </c:pt>
                <c:pt idx="6981">
                  <c:v>4.4417129927088864E-2</c:v>
                </c:pt>
                <c:pt idx="6982">
                  <c:v>5.3631318982864808E-2</c:v>
                </c:pt>
                <c:pt idx="6983">
                  <c:v>6.8016326530612237E-2</c:v>
                </c:pt>
                <c:pt idx="6984">
                  <c:v>8.4129366812227074E-2</c:v>
                </c:pt>
                <c:pt idx="6985">
                  <c:v>0.10956951109256553</c:v>
                </c:pt>
                <c:pt idx="6986">
                  <c:v>0.13389441469013008</c:v>
                </c:pt>
                <c:pt idx="6987">
                  <c:v>0.13791456257677084</c:v>
                </c:pt>
                <c:pt idx="6988">
                  <c:v>0.13456397199236156</c:v>
                </c:pt>
                <c:pt idx="6989">
                  <c:v>0.14001378359751895</c:v>
                </c:pt>
                <c:pt idx="6990">
                  <c:v>0.15363108636417488</c:v>
                </c:pt>
                <c:pt idx="6991">
                  <c:v>0.19505592046866679</c:v>
                </c:pt>
                <c:pt idx="6992">
                  <c:v>0.20242519069039702</c:v>
                </c:pt>
                <c:pt idx="6993">
                  <c:v>0.22088293545158338</c:v>
                </c:pt>
                <c:pt idx="6994">
                  <c:v>0.23736240247942716</c:v>
                </c:pt>
                <c:pt idx="6995">
                  <c:v>0.26735453536211062</c:v>
                </c:pt>
                <c:pt idx="6996">
                  <c:v>0.286038741237361</c:v>
                </c:pt>
                <c:pt idx="6997">
                  <c:v>0.31053111313665771</c:v>
                </c:pt>
                <c:pt idx="6998">
                  <c:v>0.34965834037982496</c:v>
                </c:pt>
                <c:pt idx="6999">
                  <c:v>0.39042751571241113</c:v>
                </c:pt>
                <c:pt idx="7000">
                  <c:v>0.42907362801900922</c:v>
                </c:pt>
                <c:pt idx="7001">
                  <c:v>0.4774522292993631</c:v>
                </c:pt>
                <c:pt idx="7002">
                  <c:v>0.55721448717374755</c:v>
                </c:pt>
                <c:pt idx="7003">
                  <c:v>0.55274596868427206</c:v>
                </c:pt>
                <c:pt idx="7004">
                  <c:v>0.6140148475120385</c:v>
                </c:pt>
                <c:pt idx="7005">
                  <c:v>0.64633512863274734</c:v>
                </c:pt>
                <c:pt idx="7006">
                  <c:v>0.69686090398600753</c:v>
                </c:pt>
                <c:pt idx="7007">
                  <c:v>0.72744032921810697</c:v>
                </c:pt>
                <c:pt idx="7008">
                  <c:v>0.74653076684687159</c:v>
                </c:pt>
                <c:pt idx="7009">
                  <c:v>0.78098722865285153</c:v>
                </c:pt>
                <c:pt idx="7010">
                  <c:v>0.79668181337842126</c:v>
                </c:pt>
                <c:pt idx="7011">
                  <c:v>0.7760641579272054</c:v>
                </c:pt>
                <c:pt idx="7012">
                  <c:v>0.71754029103426697</c:v>
                </c:pt>
                <c:pt idx="7013">
                  <c:v>0.63576606795066004</c:v>
                </c:pt>
                <c:pt idx="7014">
                  <c:v>0.58057169967975331</c:v>
                </c:pt>
                <c:pt idx="7015">
                  <c:v>0.55931260156267382</c:v>
                </c:pt>
                <c:pt idx="7016">
                  <c:v>0.55270346442353546</c:v>
                </c:pt>
                <c:pt idx="7017">
                  <c:v>0.54493174924165833</c:v>
                </c:pt>
                <c:pt idx="7018">
                  <c:v>0.53580002527060611</c:v>
                </c:pt>
                <c:pt idx="7019">
                  <c:v>0.47883765003158557</c:v>
                </c:pt>
                <c:pt idx="7020">
                  <c:v>0.48975297547289742</c:v>
                </c:pt>
                <c:pt idx="7021">
                  <c:v>0.43799655349909355</c:v>
                </c:pt>
                <c:pt idx="7022">
                  <c:v>0.43951806129201559</c:v>
                </c:pt>
                <c:pt idx="7023">
                  <c:v>0.45072776655755969</c:v>
                </c:pt>
                <c:pt idx="7024">
                  <c:v>0.40915631710610784</c:v>
                </c:pt>
                <c:pt idx="7025">
                  <c:v>0.37942262724272824</c:v>
                </c:pt>
                <c:pt idx="7026">
                  <c:v>0.39305169148762076</c:v>
                </c:pt>
                <c:pt idx="7027">
                  <c:v>0.39170785836779987</c:v>
                </c:pt>
                <c:pt idx="7028">
                  <c:v>0.35790097516297614</c:v>
                </c:pt>
                <c:pt idx="7029">
                  <c:v>0.34686593151479983</c:v>
                </c:pt>
                <c:pt idx="7030">
                  <c:v>0.3675845790715972</c:v>
                </c:pt>
                <c:pt idx="7031">
                  <c:v>0.37907738501433053</c:v>
                </c:pt>
                <c:pt idx="7032">
                  <c:v>0.37684799770345917</c:v>
                </c:pt>
                <c:pt idx="7033">
                  <c:v>0.3626061277224068</c:v>
                </c:pt>
                <c:pt idx="7034">
                  <c:v>0.34683845981976619</c:v>
                </c:pt>
                <c:pt idx="7035">
                  <c:v>0.32793100884692594</c:v>
                </c:pt>
                <c:pt idx="7036">
                  <c:v>0.3378652010413653</c:v>
                </c:pt>
                <c:pt idx="7037">
                  <c:v>0.35220104340709923</c:v>
                </c:pt>
                <c:pt idx="7038">
                  <c:v>0.34042684241323024</c:v>
                </c:pt>
                <c:pt idx="7039">
                  <c:v>0.34332020772698735</c:v>
                </c:pt>
                <c:pt idx="7040">
                  <c:v>0.36063957361758825</c:v>
                </c:pt>
                <c:pt idx="7041">
                  <c:v>0.38941560460055952</c:v>
                </c:pt>
                <c:pt idx="7042">
                  <c:v>0.43618794603323441</c:v>
                </c:pt>
                <c:pt idx="7043">
                  <c:v>0.44344392182508741</c:v>
                </c:pt>
                <c:pt idx="7044">
                  <c:v>0.48776093279452259</c:v>
                </c:pt>
                <c:pt idx="7045">
                  <c:v>0.52240402096032512</c:v>
                </c:pt>
                <c:pt idx="7046">
                  <c:v>0.5266016374395418</c:v>
                </c:pt>
                <c:pt idx="7047">
                  <c:v>0.52223617433160674</c:v>
                </c:pt>
                <c:pt idx="7048">
                  <c:v>0.50096315916205147</c:v>
                </c:pt>
                <c:pt idx="7049">
                  <c:v>0.5182471532574201</c:v>
                </c:pt>
                <c:pt idx="7050">
                  <c:v>0.54647803128424821</c:v>
                </c:pt>
                <c:pt idx="7051">
                  <c:v>0.5802738692112781</c:v>
                </c:pt>
                <c:pt idx="7052">
                  <c:v>0.61928598141595459</c:v>
                </c:pt>
                <c:pt idx="7053">
                  <c:v>0.64400234778042076</c:v>
                </c:pt>
                <c:pt idx="7054">
                  <c:v>0.64590067587422872</c:v>
                </c:pt>
                <c:pt idx="7055">
                  <c:v>0.63454488320938507</c:v>
                </c:pt>
                <c:pt idx="7056">
                  <c:v>0.62628743173404677</c:v>
                </c:pt>
                <c:pt idx="7057">
                  <c:v>0.62548349543730519</c:v>
                </c:pt>
                <c:pt idx="7058">
                  <c:v>0.65118659488968067</c:v>
                </c:pt>
                <c:pt idx="7059">
                  <c:v>0.63784825917665289</c:v>
                </c:pt>
                <c:pt idx="7060">
                  <c:v>0.61255884642473224</c:v>
                </c:pt>
                <c:pt idx="7061">
                  <c:v>0.55972599837576353</c:v>
                </c:pt>
                <c:pt idx="7062">
                  <c:v>0.51463894896542828</c:v>
                </c:pt>
                <c:pt idx="7063">
                  <c:v>0.44097377606730509</c:v>
                </c:pt>
                <c:pt idx="7064">
                  <c:v>0.36579526156073389</c:v>
                </c:pt>
                <c:pt idx="7065">
                  <c:v>0.30857142857142855</c:v>
                </c:pt>
                <c:pt idx="7066">
                  <c:v>0.27894303107637503</c:v>
                </c:pt>
                <c:pt idx="7067">
                  <c:v>0.25987114711150322</c:v>
                </c:pt>
                <c:pt idx="7068">
                  <c:v>0.26975529282375588</c:v>
                </c:pt>
                <c:pt idx="7069">
                  <c:v>0.2322801969789188</c:v>
                </c:pt>
                <c:pt idx="7070">
                  <c:v>0.19832106202588132</c:v>
                </c:pt>
                <c:pt idx="7071">
                  <c:v>0.17172043010752686</c:v>
                </c:pt>
                <c:pt idx="7072">
                  <c:v>0.11918170878459688</c:v>
                </c:pt>
                <c:pt idx="7073">
                  <c:v>9.5727198027937568E-2</c:v>
                </c:pt>
                <c:pt idx="7074">
                  <c:v>8.8477217357744137E-2</c:v>
                </c:pt>
                <c:pt idx="7075">
                  <c:v>7.3533212716464208E-2</c:v>
                </c:pt>
                <c:pt idx="7076">
                  <c:v>6.1105722599418044E-2</c:v>
                </c:pt>
                <c:pt idx="7077">
                  <c:v>6.0175875626519403E-2</c:v>
                </c:pt>
                <c:pt idx="7078">
                  <c:v>6.9237310308738878E-2</c:v>
                </c:pt>
                <c:pt idx="7079">
                  <c:v>0.11549117946199979</c:v>
                </c:pt>
                <c:pt idx="7080">
                  <c:v>0.13797247105090671</c:v>
                </c:pt>
                <c:pt idx="7081">
                  <c:v>0.14721407624633431</c:v>
                </c:pt>
                <c:pt idx="7082">
                  <c:v>0.14298587081891581</c:v>
                </c:pt>
                <c:pt idx="7083">
                  <c:v>0.1479097403975384</c:v>
                </c:pt>
                <c:pt idx="7084">
                  <c:v>0.16536895259814302</c:v>
                </c:pt>
                <c:pt idx="7085">
                  <c:v>0.14570291777188327</c:v>
                </c:pt>
                <c:pt idx="7086">
                  <c:v>0.14301653538035838</c:v>
                </c:pt>
                <c:pt idx="7087">
                  <c:v>0.16421079724599444</c:v>
                </c:pt>
                <c:pt idx="7088">
                  <c:v>0.16285921687518684</c:v>
                </c:pt>
                <c:pt idx="7089">
                  <c:v>0.16207598229457298</c:v>
                </c:pt>
                <c:pt idx="7090">
                  <c:v>0.19532284159435212</c:v>
                </c:pt>
                <c:pt idx="7091">
                  <c:v>0.21943005733529425</c:v>
                </c:pt>
                <c:pt idx="7092">
                  <c:v>0.24059239742472854</c:v>
                </c:pt>
                <c:pt idx="7093">
                  <c:v>0.25267973856209147</c:v>
                </c:pt>
                <c:pt idx="7094">
                  <c:v>0.24734681056339614</c:v>
                </c:pt>
                <c:pt idx="7095">
                  <c:v>0.2404410775920032</c:v>
                </c:pt>
                <c:pt idx="7096">
                  <c:v>0.20546472934708471</c:v>
                </c:pt>
                <c:pt idx="7097">
                  <c:v>0.24291810607600084</c:v>
                </c:pt>
                <c:pt idx="7098">
                  <c:v>0.28752752234166556</c:v>
                </c:pt>
                <c:pt idx="7099">
                  <c:v>0.34851973301704692</c:v>
                </c:pt>
                <c:pt idx="7100">
                  <c:v>0.38151260504201684</c:v>
                </c:pt>
                <c:pt idx="7101">
                  <c:v>0.38359853793937393</c:v>
                </c:pt>
                <c:pt idx="7102">
                  <c:v>0.39857294671322302</c:v>
                </c:pt>
                <c:pt idx="7103">
                  <c:v>0.45886272332364381</c:v>
                </c:pt>
                <c:pt idx="7104">
                  <c:v>0.46795023097413774</c:v>
                </c:pt>
                <c:pt idx="7105">
                  <c:v>0.48436485424284875</c:v>
                </c:pt>
                <c:pt idx="7106">
                  <c:v>0.56055505942158412</c:v>
                </c:pt>
                <c:pt idx="7107">
                  <c:v>0.54708205059563653</c:v>
                </c:pt>
                <c:pt idx="7108">
                  <c:v>0.53158900394477315</c:v>
                </c:pt>
                <c:pt idx="7109">
                  <c:v>0.46441584915275835</c:v>
                </c:pt>
                <c:pt idx="7110">
                  <c:v>0.43265358857856545</c:v>
                </c:pt>
                <c:pt idx="7111">
                  <c:v>0.44967778031040845</c:v>
                </c:pt>
                <c:pt idx="7112">
                  <c:v>0.45814391612401201</c:v>
                </c:pt>
                <c:pt idx="7113">
                  <c:v>0.46097456678002002</c:v>
                </c:pt>
                <c:pt idx="7114">
                  <c:v>0.472910438592899</c:v>
                </c:pt>
                <c:pt idx="7115">
                  <c:v>0.4832182464950826</c:v>
                </c:pt>
                <c:pt idx="7116">
                  <c:v>0.50231433217964216</c:v>
                </c:pt>
                <c:pt idx="7117">
                  <c:v>0.51550881229201773</c:v>
                </c:pt>
                <c:pt idx="7118">
                  <c:v>0.56339058125443975</c:v>
                </c:pt>
                <c:pt idx="7119">
                  <c:v>0.60163256871254389</c:v>
                </c:pt>
                <c:pt idx="7120">
                  <c:v>0.56505780182771081</c:v>
                </c:pt>
                <c:pt idx="7121">
                  <c:v>0.57509836128194369</c:v>
                </c:pt>
                <c:pt idx="7122">
                  <c:v>0.58970681636583422</c:v>
                </c:pt>
                <c:pt idx="7123">
                  <c:v>0.57419383028925974</c:v>
                </c:pt>
                <c:pt idx="7124">
                  <c:v>0.55010852999584348</c:v>
                </c:pt>
                <c:pt idx="7125">
                  <c:v>0.61894688551330412</c:v>
                </c:pt>
                <c:pt idx="7126">
                  <c:v>0.67645882151225922</c:v>
                </c:pt>
                <c:pt idx="7127">
                  <c:v>0.73546233035521069</c:v>
                </c:pt>
                <c:pt idx="7128">
                  <c:v>0.76001193475666351</c:v>
                </c:pt>
                <c:pt idx="7129">
                  <c:v>0.69215012554513011</c:v>
                </c:pt>
                <c:pt idx="7130">
                  <c:v>0.66268095254089276</c:v>
                </c:pt>
                <c:pt idx="7131">
                  <c:v>0.5983350333980455</c:v>
                </c:pt>
                <c:pt idx="7132">
                  <c:v>0.41564539467855777</c:v>
                </c:pt>
                <c:pt idx="7133">
                  <c:v>0.30361018936653278</c:v>
                </c:pt>
                <c:pt idx="7134">
                  <c:v>0.35145885788037151</c:v>
                </c:pt>
                <c:pt idx="7135">
                  <c:v>0.44073851093718641</c:v>
                </c:pt>
                <c:pt idx="7136">
                  <c:v>0.5502837956671196</c:v>
                </c:pt>
                <c:pt idx="7137">
                  <c:v>0.57824732229795528</c:v>
                </c:pt>
                <c:pt idx="7138">
                  <c:v>0.62373389271801027</c:v>
                </c:pt>
                <c:pt idx="7139">
                  <c:v>0.63785754123177441</c:v>
                </c:pt>
                <c:pt idx="7140">
                  <c:v>0.69935325287611061</c:v>
                </c:pt>
                <c:pt idx="7141">
                  <c:v>0.67203635699649011</c:v>
                </c:pt>
                <c:pt idx="7142">
                  <c:v>0.70416240262316987</c:v>
                </c:pt>
                <c:pt idx="7143">
                  <c:v>0.68569074081900017</c:v>
                </c:pt>
                <c:pt idx="7144">
                  <c:v>0.61106371158157902</c:v>
                </c:pt>
                <c:pt idx="7145">
                  <c:v>0.56021989976300568</c:v>
                </c:pt>
                <c:pt idx="7146">
                  <c:v>0.61056868613892035</c:v>
                </c:pt>
                <c:pt idx="7147">
                  <c:v>0.68742131419105468</c:v>
                </c:pt>
                <c:pt idx="7148">
                  <c:v>0.69920807014235897</c:v>
                </c:pt>
                <c:pt idx="7149">
                  <c:v>0.71359951203395422</c:v>
                </c:pt>
                <c:pt idx="7150">
                  <c:v>0.71723466407010716</c:v>
                </c:pt>
                <c:pt idx="7151">
                  <c:v>0.80370471925174425</c:v>
                </c:pt>
                <c:pt idx="7152">
                  <c:v>0.7891888490340444</c:v>
                </c:pt>
                <c:pt idx="7153">
                  <c:v>0.78692682926829272</c:v>
                </c:pt>
                <c:pt idx="7154">
                  <c:v>0.76180638497046382</c:v>
                </c:pt>
                <c:pt idx="7155">
                  <c:v>0.80009860312243231</c:v>
                </c:pt>
                <c:pt idx="7156">
                  <c:v>0.70484121298949387</c:v>
                </c:pt>
                <c:pt idx="7157">
                  <c:v>0.5476950267563454</c:v>
                </c:pt>
                <c:pt idx="7158">
                  <c:v>0.46086359950936573</c:v>
                </c:pt>
                <c:pt idx="7159">
                  <c:v>0.41620089586554093</c:v>
                </c:pt>
                <c:pt idx="7160">
                  <c:v>0.42813924408051313</c:v>
                </c:pt>
                <c:pt idx="7161">
                  <c:v>0.46509914666339253</c:v>
                </c:pt>
                <c:pt idx="7162">
                  <c:v>0.50045379537953794</c:v>
                </c:pt>
                <c:pt idx="7163">
                  <c:v>0.57564736688972939</c:v>
                </c:pt>
                <c:pt idx="7164">
                  <c:v>0.58183136315121742</c:v>
                </c:pt>
                <c:pt idx="7165">
                  <c:v>0.5905227282059704</c:v>
                </c:pt>
                <c:pt idx="7166">
                  <c:v>0.65857809976869019</c:v>
                </c:pt>
                <c:pt idx="7167">
                  <c:v>0.65105920463748335</c:v>
                </c:pt>
                <c:pt idx="7168">
                  <c:v>0.6187740622039466</c:v>
                </c:pt>
                <c:pt idx="7169">
                  <c:v>0.62618126719566181</c:v>
                </c:pt>
                <c:pt idx="7170">
                  <c:v>0.6686333584400368</c:v>
                </c:pt>
                <c:pt idx="7171">
                  <c:v>0.72669347219475755</c:v>
                </c:pt>
                <c:pt idx="7172">
                  <c:v>0.83044357236294453</c:v>
                </c:pt>
                <c:pt idx="7173">
                  <c:v>0.91448458733841564</c:v>
                </c:pt>
                <c:pt idx="7174">
                  <c:v>1.0267483352532945</c:v>
                </c:pt>
                <c:pt idx="7175">
                  <c:v>1.1640965682866711</c:v>
                </c:pt>
                <c:pt idx="7176">
                  <c:v>1.20340263408546</c:v>
                </c:pt>
                <c:pt idx="7177">
                  <c:v>1.1561057628906766</c:v>
                </c:pt>
                <c:pt idx="7178">
                  <c:v>1.0749861015729749</c:v>
                </c:pt>
                <c:pt idx="7179">
                  <c:v>1.0145704290895088</c:v>
                </c:pt>
                <c:pt idx="7180">
                  <c:v>0.82353108956075305</c:v>
                </c:pt>
                <c:pt idx="7181">
                  <c:v>0.61447924673328203</c:v>
                </c:pt>
                <c:pt idx="7182">
                  <c:v>0.48624567296859955</c:v>
                </c:pt>
                <c:pt idx="7183">
                  <c:v>0.45741626794258367</c:v>
                </c:pt>
                <c:pt idx="7184">
                  <c:v>0.42440468946493037</c:v>
                </c:pt>
                <c:pt idx="7185">
                  <c:v>0.40197000040871383</c:v>
                </c:pt>
                <c:pt idx="7186">
                  <c:v>0.39593272418533187</c:v>
                </c:pt>
                <c:pt idx="7187">
                  <c:v>0.43252887396803275</c:v>
                </c:pt>
                <c:pt idx="7188">
                  <c:v>0.53784347671682875</c:v>
                </c:pt>
                <c:pt idx="7189">
                  <c:v>0.60392345373803968</c:v>
                </c:pt>
                <c:pt idx="7190">
                  <c:v>0.68806303657532641</c:v>
                </c:pt>
                <c:pt idx="7191">
                  <c:v>0.6011060565516011</c:v>
                </c:pt>
                <c:pt idx="7192">
                  <c:v>0.54992089266383548</c:v>
                </c:pt>
                <c:pt idx="7193">
                  <c:v>0.63410743510596423</c:v>
                </c:pt>
                <c:pt idx="7194">
                  <c:v>0.72308505716740468</c:v>
                </c:pt>
                <c:pt idx="7195">
                  <c:v>0.82673054919908473</c:v>
                </c:pt>
                <c:pt idx="7196">
                  <c:v>0.87171244146310589</c:v>
                </c:pt>
                <c:pt idx="7197">
                  <c:v>0.97004402906458498</c:v>
                </c:pt>
                <c:pt idx="7198">
                  <c:v>1.1596740740740741</c:v>
                </c:pt>
                <c:pt idx="7199">
                  <c:v>1.1579492490937338</c:v>
                </c:pt>
                <c:pt idx="7200">
                  <c:v>1.2336970312103526</c:v>
                </c:pt>
                <c:pt idx="7201">
                  <c:v>1.2308161365897494</c:v>
                </c:pt>
                <c:pt idx="7202">
                  <c:v>1.1909380941639005</c:v>
                </c:pt>
                <c:pt idx="7203">
                  <c:v>1.1120681343403502</c:v>
                </c:pt>
                <c:pt idx="7204">
                  <c:v>1.1475919047009095</c:v>
                </c:pt>
                <c:pt idx="7205">
                  <c:v>1.1287016623964727</c:v>
                </c:pt>
                <c:pt idx="7206">
                  <c:v>1.1410032238675483</c:v>
                </c:pt>
                <c:pt idx="7207">
                  <c:v>1.0731566675859303</c:v>
                </c:pt>
                <c:pt idx="7208">
                  <c:v>1.0357006673021927</c:v>
                </c:pt>
                <c:pt idx="7209">
                  <c:v>0.96567201208922571</c:v>
                </c:pt>
                <c:pt idx="7210">
                  <c:v>0.97967953553224085</c:v>
                </c:pt>
                <c:pt idx="7211">
                  <c:v>0.95961113981120549</c:v>
                </c:pt>
                <c:pt idx="7212">
                  <c:v>0.88825065274151438</c:v>
                </c:pt>
                <c:pt idx="7213">
                  <c:v>0.86610646955433024</c:v>
                </c:pt>
                <c:pt idx="7214">
                  <c:v>0.86057927127088008</c:v>
                </c:pt>
                <c:pt idx="7215">
                  <c:v>0.89158169548298116</c:v>
                </c:pt>
                <c:pt idx="7216">
                  <c:v>0.89529597221904911</c:v>
                </c:pt>
                <c:pt idx="7217">
                  <c:v>0.86591859185918585</c:v>
                </c:pt>
                <c:pt idx="7218">
                  <c:v>0.92443051989352432</c:v>
                </c:pt>
                <c:pt idx="7219">
                  <c:v>1.0199048572859288</c:v>
                </c:pt>
                <c:pt idx="7220">
                  <c:v>0.94464010852834512</c:v>
                </c:pt>
                <c:pt idx="7221">
                  <c:v>0.9975387848787366</c:v>
                </c:pt>
                <c:pt idx="7222">
                  <c:v>1.0383787767133381</c:v>
                </c:pt>
                <c:pt idx="7223">
                  <c:v>1.0348070045628315</c:v>
                </c:pt>
                <c:pt idx="7224">
                  <c:v>0.9886841254445522</c:v>
                </c:pt>
                <c:pt idx="7225">
                  <c:v>0.91712310466902691</c:v>
                </c:pt>
                <c:pt idx="7226">
                  <c:v>0.80815284089024519</c:v>
                </c:pt>
                <c:pt idx="7227">
                  <c:v>0.84392930915767728</c:v>
                </c:pt>
                <c:pt idx="7228">
                  <c:v>0.91216691162374575</c:v>
                </c:pt>
                <c:pt idx="7229">
                  <c:v>0.91603371757066676</c:v>
                </c:pt>
                <c:pt idx="7230">
                  <c:v>0.98133110087902886</c:v>
                </c:pt>
                <c:pt idx="7231">
                  <c:v>0.98736132921331243</c:v>
                </c:pt>
                <c:pt idx="7232">
                  <c:v>0.90975981887981106</c:v>
                </c:pt>
                <c:pt idx="7233">
                  <c:v>0.87661691542288567</c:v>
                </c:pt>
                <c:pt idx="7234">
                  <c:v>0.87492257111545257</c:v>
                </c:pt>
                <c:pt idx="7235">
                  <c:v>0.8800285646274697</c:v>
                </c:pt>
                <c:pt idx="7236">
                  <c:v>0.86958721896913183</c:v>
                </c:pt>
                <c:pt idx="7237">
                  <c:v>0.8892662876270645</c:v>
                </c:pt>
                <c:pt idx="7238">
                  <c:v>0.89712330503104809</c:v>
                </c:pt>
                <c:pt idx="7239">
                  <c:v>0.83880552666765718</c:v>
                </c:pt>
                <c:pt idx="7240">
                  <c:v>0.70103468220475129</c:v>
                </c:pt>
                <c:pt idx="7241">
                  <c:v>0.69033539276257727</c:v>
                </c:pt>
                <c:pt idx="7242">
                  <c:v>0.69166533208263747</c:v>
                </c:pt>
                <c:pt idx="7243">
                  <c:v>0.78260104122129737</c:v>
                </c:pt>
                <c:pt idx="7244">
                  <c:v>0.79427230806569038</c:v>
                </c:pt>
                <c:pt idx="7245">
                  <c:v>0.79581380454717465</c:v>
                </c:pt>
                <c:pt idx="7246">
                  <c:v>0.82601994275109314</c:v>
                </c:pt>
                <c:pt idx="7247">
                  <c:v>0.84062437194345807</c:v>
                </c:pt>
                <c:pt idx="7248">
                  <c:v>0.81509226487062303</c:v>
                </c:pt>
                <c:pt idx="7249">
                  <c:v>0.79528841157110686</c:v>
                </c:pt>
                <c:pt idx="7250">
                  <c:v>0.76411103085336907</c:v>
                </c:pt>
                <c:pt idx="7251">
                  <c:v>0.73577073786278802</c:v>
                </c:pt>
                <c:pt idx="7252">
                  <c:v>0.65066109951287399</c:v>
                </c:pt>
                <c:pt idx="7253">
                  <c:v>0.51864339052471209</c:v>
                </c:pt>
                <c:pt idx="7254">
                  <c:v>0.42123131161454586</c:v>
                </c:pt>
                <c:pt idx="7255">
                  <c:v>0.35048678720445064</c:v>
                </c:pt>
                <c:pt idx="7256">
                  <c:v>0.32479963924816041</c:v>
                </c:pt>
                <c:pt idx="7257">
                  <c:v>0.31062849621586047</c:v>
                </c:pt>
                <c:pt idx="7258">
                  <c:v>0.34687974696714319</c:v>
                </c:pt>
                <c:pt idx="7259">
                  <c:v>0.33267067084003049</c:v>
                </c:pt>
                <c:pt idx="7260">
                  <c:v>0.34207815686027199</c:v>
                </c:pt>
                <c:pt idx="7261">
                  <c:v>0.37438760883982625</c:v>
                </c:pt>
                <c:pt idx="7262">
                  <c:v>0.36499232287782407</c:v>
                </c:pt>
                <c:pt idx="7263">
                  <c:v>0.2912266450040617</c:v>
                </c:pt>
                <c:pt idx="7264">
                  <c:v>0.23730166270783848</c:v>
                </c:pt>
                <c:pt idx="7265">
                  <c:v>0.23936117448665806</c:v>
                </c:pt>
                <c:pt idx="7266">
                  <c:v>0.25471718226979079</c:v>
                </c:pt>
                <c:pt idx="7267">
                  <c:v>0.25937592732087017</c:v>
                </c:pt>
                <c:pt idx="7268">
                  <c:v>0.27815481459624275</c:v>
                </c:pt>
                <c:pt idx="7269">
                  <c:v>0.31115879828326182</c:v>
                </c:pt>
                <c:pt idx="7270">
                  <c:v>0.3424628956309233</c:v>
                </c:pt>
                <c:pt idx="7271">
                  <c:v>0.33631745245028194</c:v>
                </c:pt>
                <c:pt idx="7272">
                  <c:v>0.3083831398441656</c:v>
                </c:pt>
                <c:pt idx="7273">
                  <c:v>0.32262378498271249</c:v>
                </c:pt>
                <c:pt idx="7274">
                  <c:v>0.31126239649134291</c:v>
                </c:pt>
                <c:pt idx="7275">
                  <c:v>0.29394466403162056</c:v>
                </c:pt>
                <c:pt idx="7276">
                  <c:v>0.26012438319366987</c:v>
                </c:pt>
                <c:pt idx="7277">
                  <c:v>0.23334146936783012</c:v>
                </c:pt>
                <c:pt idx="7278">
                  <c:v>0.20185570103070688</c:v>
                </c:pt>
                <c:pt idx="7279">
                  <c:v>0.19822854291417166</c:v>
                </c:pt>
                <c:pt idx="7280">
                  <c:v>0.17472529763766392</c:v>
                </c:pt>
                <c:pt idx="7281">
                  <c:v>0.17588146804871513</c:v>
                </c:pt>
                <c:pt idx="7282">
                  <c:v>0.19853942319594012</c:v>
                </c:pt>
                <c:pt idx="7283">
                  <c:v>0.21411075054956558</c:v>
                </c:pt>
                <c:pt idx="7284">
                  <c:v>0.22810004203446829</c:v>
                </c:pt>
                <c:pt idx="7285">
                  <c:v>0.22427412467976088</c:v>
                </c:pt>
                <c:pt idx="7286">
                  <c:v>0.20391274918666349</c:v>
                </c:pt>
                <c:pt idx="7287">
                  <c:v>0.21192863929061542</c:v>
                </c:pt>
                <c:pt idx="7288">
                  <c:v>0.21341568680106648</c:v>
                </c:pt>
                <c:pt idx="7289">
                  <c:v>0.23454859022179436</c:v>
                </c:pt>
                <c:pt idx="7290">
                  <c:v>0.2446464035920905</c:v>
                </c:pt>
                <c:pt idx="7291">
                  <c:v>0.26556899382559035</c:v>
                </c:pt>
                <c:pt idx="7292">
                  <c:v>0.27225002453144936</c:v>
                </c:pt>
                <c:pt idx="7293">
                  <c:v>0.3028901104882164</c:v>
                </c:pt>
                <c:pt idx="7294">
                  <c:v>0.307316200584342</c:v>
                </c:pt>
                <c:pt idx="7295">
                  <c:v>0.37326182600597324</c:v>
                </c:pt>
                <c:pt idx="7296">
                  <c:v>0.40996053247708875</c:v>
                </c:pt>
                <c:pt idx="7297">
                  <c:v>0.47048652313951517</c:v>
                </c:pt>
                <c:pt idx="7298">
                  <c:v>0.4746807868896411</c:v>
                </c:pt>
                <c:pt idx="7299">
                  <c:v>0.52891206664698742</c:v>
                </c:pt>
                <c:pt idx="7300">
                  <c:v>0.50912106135986734</c:v>
                </c:pt>
                <c:pt idx="7301">
                  <c:v>0.409892811955406</c:v>
                </c:pt>
                <c:pt idx="7302">
                  <c:v>0.42319651092422944</c:v>
                </c:pt>
                <c:pt idx="7303">
                  <c:v>0.43413555405028492</c:v>
                </c:pt>
                <c:pt idx="7304">
                  <c:v>0.43504173985119682</c:v>
                </c:pt>
                <c:pt idx="7305">
                  <c:v>0.51123175577324054</c:v>
                </c:pt>
                <c:pt idx="7306">
                  <c:v>0.60217825739408481</c:v>
                </c:pt>
                <c:pt idx="7307">
                  <c:v>0.69145421170711807</c:v>
                </c:pt>
                <c:pt idx="7308">
                  <c:v>0.73751880164012118</c:v>
                </c:pt>
                <c:pt idx="7309">
                  <c:v>0.6389464160048256</c:v>
                </c:pt>
                <c:pt idx="7310">
                  <c:v>0.60990437721539859</c:v>
                </c:pt>
                <c:pt idx="7311">
                  <c:v>0.60458872345618742</c:v>
                </c:pt>
                <c:pt idx="7312">
                  <c:v>0.58105496237638621</c:v>
                </c:pt>
                <c:pt idx="7313">
                  <c:v>0.5737305163769727</c:v>
                </c:pt>
                <c:pt idx="7314">
                  <c:v>0.66496201359513418</c:v>
                </c:pt>
                <c:pt idx="7315">
                  <c:v>0.70861987328357867</c:v>
                </c:pt>
                <c:pt idx="7316">
                  <c:v>0.76221498371335505</c:v>
                </c:pt>
                <c:pt idx="7317">
                  <c:v>0.77977828647856162</c:v>
                </c:pt>
                <c:pt idx="7318">
                  <c:v>0.95704954043586321</c:v>
                </c:pt>
                <c:pt idx="7319">
                  <c:v>1.0251612510648656</c:v>
                </c:pt>
                <c:pt idx="7320">
                  <c:v>1.0149494949494948</c:v>
                </c:pt>
                <c:pt idx="7321">
                  <c:v>1.0409241968665928</c:v>
                </c:pt>
                <c:pt idx="7322">
                  <c:v>0.97003721693054945</c:v>
                </c:pt>
                <c:pt idx="7323">
                  <c:v>0.94572578883305747</c:v>
                </c:pt>
                <c:pt idx="7324">
                  <c:v>0.87596831243240103</c:v>
                </c:pt>
                <c:pt idx="7325">
                  <c:v>0.67220529192666767</c:v>
                </c:pt>
                <c:pt idx="7326">
                  <c:v>0.61827468294160925</c:v>
                </c:pt>
                <c:pt idx="7327">
                  <c:v>0.5781302240053493</c:v>
                </c:pt>
                <c:pt idx="7328">
                  <c:v>0.58226898635274504</c:v>
                </c:pt>
                <c:pt idx="7329">
                  <c:v>0.58815186334765368</c:v>
                </c:pt>
                <c:pt idx="7330">
                  <c:v>0.57030032001312891</c:v>
                </c:pt>
                <c:pt idx="7331">
                  <c:v>0.53814918162508851</c:v>
                </c:pt>
                <c:pt idx="7332">
                  <c:v>0.48903330625507724</c:v>
                </c:pt>
                <c:pt idx="7333">
                  <c:v>0.45353634159826478</c:v>
                </c:pt>
                <c:pt idx="7334">
                  <c:v>0.4376039205390741</c:v>
                </c:pt>
                <c:pt idx="7335">
                  <c:v>0.3902931609940688</c:v>
                </c:pt>
                <c:pt idx="7336">
                  <c:v>0.3074687199230029</c:v>
                </c:pt>
                <c:pt idx="7337">
                  <c:v>0.26301353407543848</c:v>
                </c:pt>
                <c:pt idx="7338">
                  <c:v>0.25511080570348738</c:v>
                </c:pt>
                <c:pt idx="7339">
                  <c:v>0.22932168293626415</c:v>
                </c:pt>
                <c:pt idx="7340">
                  <c:v>0.19253457349161668</c:v>
                </c:pt>
                <c:pt idx="7341">
                  <c:v>0.17801790002182927</c:v>
                </c:pt>
                <c:pt idx="7342">
                  <c:v>0.18745682275553416</c:v>
                </c:pt>
                <c:pt idx="7343">
                  <c:v>0.21533989988696914</c:v>
                </c:pt>
                <c:pt idx="7344">
                  <c:v>0.24035321559480174</c:v>
                </c:pt>
                <c:pt idx="7345">
                  <c:v>0.24500858556950944</c:v>
                </c:pt>
                <c:pt idx="7346">
                  <c:v>0.27546474627365597</c:v>
                </c:pt>
                <c:pt idx="7347">
                  <c:v>0.28445546816357165</c:v>
                </c:pt>
                <c:pt idx="7348">
                  <c:v>0.28282192027355352</c:v>
                </c:pt>
                <c:pt idx="7349">
                  <c:v>0.23879739084797441</c:v>
                </c:pt>
                <c:pt idx="7350">
                  <c:v>0.21016066000868433</c:v>
                </c:pt>
                <c:pt idx="7351">
                  <c:v>0.20168594557282404</c:v>
                </c:pt>
                <c:pt idx="7352">
                  <c:v>0.19051589369463262</c:v>
                </c:pt>
                <c:pt idx="7353">
                  <c:v>0.20144434127721034</c:v>
                </c:pt>
                <c:pt idx="7354">
                  <c:v>0.23583165660630451</c:v>
                </c:pt>
                <c:pt idx="7355">
                  <c:v>0.25258547796110398</c:v>
                </c:pt>
                <c:pt idx="7356">
                  <c:v>0.26173249253235981</c:v>
                </c:pt>
                <c:pt idx="7357">
                  <c:v>0.24276966124630167</c:v>
                </c:pt>
                <c:pt idx="7358">
                  <c:v>0.26283146488169074</c:v>
                </c:pt>
                <c:pt idx="7359">
                  <c:v>0.23288189958569075</c:v>
                </c:pt>
                <c:pt idx="7360">
                  <c:v>0.23188228580745088</c:v>
                </c:pt>
                <c:pt idx="7361">
                  <c:v>0.28578362067146384</c:v>
                </c:pt>
                <c:pt idx="7362">
                  <c:v>0.3249925868479277</c:v>
                </c:pt>
                <c:pt idx="7363">
                  <c:v>0.37108851971237289</c:v>
                </c:pt>
                <c:pt idx="7364">
                  <c:v>0.46287012376625408</c:v>
                </c:pt>
                <c:pt idx="7365">
                  <c:v>0.48941732017876716</c:v>
                </c:pt>
                <c:pt idx="7366">
                  <c:v>0.56173137207619961</c:v>
                </c:pt>
                <c:pt idx="7367">
                  <c:v>0.6392171100402666</c:v>
                </c:pt>
                <c:pt idx="7368">
                  <c:v>0.64279454551828086</c:v>
                </c:pt>
                <c:pt idx="7369">
                  <c:v>0.64385284184809943</c:v>
                </c:pt>
                <c:pt idx="7370">
                  <c:v>0.56549173932218344</c:v>
                </c:pt>
                <c:pt idx="7371">
                  <c:v>0.51663397980678438</c:v>
                </c:pt>
                <c:pt idx="7372">
                  <c:v>0.41559859154929574</c:v>
                </c:pt>
                <c:pt idx="7373">
                  <c:v>0.42017216176709438</c:v>
                </c:pt>
                <c:pt idx="7374">
                  <c:v>0.43055514521227872</c:v>
                </c:pt>
                <c:pt idx="7375">
                  <c:v>0.37251664591566064</c:v>
                </c:pt>
                <c:pt idx="7376">
                  <c:v>0.40075225677031096</c:v>
                </c:pt>
                <c:pt idx="7377">
                  <c:v>0.4182854571364284</c:v>
                </c:pt>
                <c:pt idx="7378">
                  <c:v>0.40855017656340004</c:v>
                </c:pt>
                <c:pt idx="7379">
                  <c:v>0.39941379567301727</c:v>
                </c:pt>
                <c:pt idx="7380">
                  <c:v>0.39865798798723329</c:v>
                </c:pt>
                <c:pt idx="7381">
                  <c:v>0.38635531614455315</c:v>
                </c:pt>
                <c:pt idx="7382">
                  <c:v>0.39779825109306688</c:v>
                </c:pt>
                <c:pt idx="7383">
                  <c:v>0.41878222440461577</c:v>
                </c:pt>
                <c:pt idx="7384">
                  <c:v>0.44501620390645524</c:v>
                </c:pt>
                <c:pt idx="7385">
                  <c:v>0.49768080698910211</c:v>
                </c:pt>
                <c:pt idx="7386">
                  <c:v>0.56135477582846005</c:v>
                </c:pt>
                <c:pt idx="7387">
                  <c:v>0.61007270323859875</c:v>
                </c:pt>
                <c:pt idx="7388">
                  <c:v>0.612326491539263</c:v>
                </c:pt>
                <c:pt idx="7389">
                  <c:v>0.59964359067294914</c:v>
                </c:pt>
                <c:pt idx="7390">
                  <c:v>0.63835844288775856</c:v>
                </c:pt>
                <c:pt idx="7391">
                  <c:v>0.68865185985283195</c:v>
                </c:pt>
                <c:pt idx="7392">
                  <c:v>0.72065975893423562</c:v>
                </c:pt>
                <c:pt idx="7393">
                  <c:v>0.72744749537524023</c:v>
                </c:pt>
                <c:pt idx="7394">
                  <c:v>0.67141857295465435</c:v>
                </c:pt>
                <c:pt idx="7395">
                  <c:v>0.60368192278189725</c:v>
                </c:pt>
                <c:pt idx="7396">
                  <c:v>0.55096607059331482</c:v>
                </c:pt>
                <c:pt idx="7397">
                  <c:v>0.49472863486897856</c:v>
                </c:pt>
                <c:pt idx="7398">
                  <c:v>0.40588235294117647</c:v>
                </c:pt>
                <c:pt idx="7399">
                  <c:v>0.25771374951702819</c:v>
                </c:pt>
                <c:pt idx="7400">
                  <c:v>0.2773533461112761</c:v>
                </c:pt>
                <c:pt idx="7401">
                  <c:v>0.24427920615803528</c:v>
                </c:pt>
                <c:pt idx="7402">
                  <c:v>0.22756986222881992</c:v>
                </c:pt>
                <c:pt idx="7403">
                  <c:v>0.18903958655788453</c:v>
                </c:pt>
                <c:pt idx="7404">
                  <c:v>0.16884823634547652</c:v>
                </c:pt>
                <c:pt idx="7405">
                  <c:v>0.17980062959076601</c:v>
                </c:pt>
                <c:pt idx="7406">
                  <c:v>0.19915629394302381</c:v>
                </c:pt>
                <c:pt idx="7407">
                  <c:v>0.16073119219284829</c:v>
                </c:pt>
                <c:pt idx="7408">
                  <c:v>0.15229046924594664</c:v>
                </c:pt>
                <c:pt idx="7409">
                  <c:v>0.1606763925729443</c:v>
                </c:pt>
                <c:pt idx="7410">
                  <c:v>0.21496682757472713</c:v>
                </c:pt>
                <c:pt idx="7411">
                  <c:v>0.23200694692751697</c:v>
                </c:pt>
                <c:pt idx="7412">
                  <c:v>0.25375433192144781</c:v>
                </c:pt>
                <c:pt idx="7413">
                  <c:v>0.28438783405749662</c:v>
                </c:pt>
                <c:pt idx="7414">
                  <c:v>0.3238985655737705</c:v>
                </c:pt>
                <c:pt idx="7415">
                  <c:v>0.40178661722568687</c:v>
                </c:pt>
                <c:pt idx="7416">
                  <c:v>0.44457198511252571</c:v>
                </c:pt>
                <c:pt idx="7417">
                  <c:v>0.45830546657749305</c:v>
                </c:pt>
                <c:pt idx="7418">
                  <c:v>0.46419968580904175</c:v>
                </c:pt>
                <c:pt idx="7419">
                  <c:v>0.44918486515678269</c:v>
                </c:pt>
                <c:pt idx="7420">
                  <c:v>0.38803000153069034</c:v>
                </c:pt>
                <c:pt idx="7421">
                  <c:v>0.30543048334535683</c:v>
                </c:pt>
                <c:pt idx="7422">
                  <c:v>0.24809744395731656</c:v>
                </c:pt>
                <c:pt idx="7423">
                  <c:v>0.25183808512376443</c:v>
                </c:pt>
                <c:pt idx="7424">
                  <c:v>0.23383217530732228</c:v>
                </c:pt>
                <c:pt idx="7425">
                  <c:v>0.23339251821465745</c:v>
                </c:pt>
                <c:pt idx="7426">
                  <c:v>0.2808360927152318</c:v>
                </c:pt>
                <c:pt idx="7427">
                  <c:v>0.29217332459238271</c:v>
                </c:pt>
                <c:pt idx="7428">
                  <c:v>0.25743097543444254</c:v>
                </c:pt>
                <c:pt idx="7429">
                  <c:v>0.21200206265308755</c:v>
                </c:pt>
                <c:pt idx="7430">
                  <c:v>0.1402474044621162</c:v>
                </c:pt>
                <c:pt idx="7431">
                  <c:v>0.10461388198823703</c:v>
                </c:pt>
                <c:pt idx="7432">
                  <c:v>7.5074055206505522E-2</c:v>
                </c:pt>
                <c:pt idx="7433">
                  <c:v>7.8521486369706961E-2</c:v>
                </c:pt>
                <c:pt idx="7434">
                  <c:v>7.667010982987961E-2</c:v>
                </c:pt>
                <c:pt idx="7435">
                  <c:v>8.3913388504704686E-2</c:v>
                </c:pt>
                <c:pt idx="7436">
                  <c:v>9.8030144391146615E-2</c:v>
                </c:pt>
                <c:pt idx="7437">
                  <c:v>0.11682019061817796</c:v>
                </c:pt>
                <c:pt idx="7438">
                  <c:v>0.14859894921190894</c:v>
                </c:pt>
                <c:pt idx="7439">
                  <c:v>0.1873411443803856</c:v>
                </c:pt>
                <c:pt idx="7440">
                  <c:v>0.19840660395469384</c:v>
                </c:pt>
                <c:pt idx="7441">
                  <c:v>0.21801621394657797</c:v>
                </c:pt>
                <c:pt idx="7442">
                  <c:v>0.20536287732819525</c:v>
                </c:pt>
                <c:pt idx="7443">
                  <c:v>0.20570359981299674</c:v>
                </c:pt>
                <c:pt idx="7444">
                  <c:v>0.23606416499570321</c:v>
                </c:pt>
                <c:pt idx="7445">
                  <c:v>0.21298531369142956</c:v>
                </c:pt>
                <c:pt idx="7446">
                  <c:v>0.23609968744859353</c:v>
                </c:pt>
                <c:pt idx="7447">
                  <c:v>0.22134671919684823</c:v>
                </c:pt>
                <c:pt idx="7448">
                  <c:v>0.21402464598853582</c:v>
                </c:pt>
                <c:pt idx="7449">
                  <c:v>0.17722754526802253</c:v>
                </c:pt>
                <c:pt idx="7450">
                  <c:v>0.1829617155957719</c:v>
                </c:pt>
                <c:pt idx="7451">
                  <c:v>0.21698466922179641</c:v>
                </c:pt>
                <c:pt idx="7452">
                  <c:v>0.23420167019818025</c:v>
                </c:pt>
                <c:pt idx="7453">
                  <c:v>0.18531126421786459</c:v>
                </c:pt>
                <c:pt idx="7454">
                  <c:v>0.16999183041664878</c:v>
                </c:pt>
                <c:pt idx="7455">
                  <c:v>0.16888397697889732</c:v>
                </c:pt>
                <c:pt idx="7456">
                  <c:v>0.18411978561523179</c:v>
                </c:pt>
                <c:pt idx="7457">
                  <c:v>0.23725903379380317</c:v>
                </c:pt>
                <c:pt idx="7458">
                  <c:v>0.27493666714724124</c:v>
                </c:pt>
                <c:pt idx="7459">
                  <c:v>0.31503442149677996</c:v>
                </c:pt>
                <c:pt idx="7460">
                  <c:v>0.34437149796791966</c:v>
                </c:pt>
                <c:pt idx="7461">
                  <c:v>0.3851510578017846</c:v>
                </c:pt>
                <c:pt idx="7462">
                  <c:v>0.392877890089462</c:v>
                </c:pt>
                <c:pt idx="7463">
                  <c:v>0.35249337360537508</c:v>
                </c:pt>
                <c:pt idx="7464">
                  <c:v>0.32903143774436572</c:v>
                </c:pt>
                <c:pt idx="7465">
                  <c:v>0.31702682683327427</c:v>
                </c:pt>
                <c:pt idx="7466">
                  <c:v>0.2887371357122247</c:v>
                </c:pt>
                <c:pt idx="7467">
                  <c:v>0.25491790461297892</c:v>
                </c:pt>
                <c:pt idx="7468">
                  <c:v>0.19957958995623129</c:v>
                </c:pt>
                <c:pt idx="7469">
                  <c:v>0.15710093332050418</c:v>
                </c:pt>
                <c:pt idx="7470">
                  <c:v>0.11186637377212252</c:v>
                </c:pt>
                <c:pt idx="7471">
                  <c:v>8.184472862752995E-2</c:v>
                </c:pt>
                <c:pt idx="7472">
                  <c:v>6.5204707775877682E-2</c:v>
                </c:pt>
                <c:pt idx="7473">
                  <c:v>4.5530559426637467E-2</c:v>
                </c:pt>
                <c:pt idx="7474">
                  <c:v>3.3062352490266879E-2</c:v>
                </c:pt>
                <c:pt idx="7475">
                  <c:v>2.1609874113257065E-2</c:v>
                </c:pt>
                <c:pt idx="7476">
                  <c:v>2.0129950240572441E-2</c:v>
                </c:pt>
                <c:pt idx="7477">
                  <c:v>2.0018007831312686E-2</c:v>
                </c:pt>
                <c:pt idx="7478">
                  <c:v>1.6084529335015935E-2</c:v>
                </c:pt>
                <c:pt idx="7479">
                  <c:v>1.78813663830312E-2</c:v>
                </c:pt>
                <c:pt idx="7480">
                  <c:v>1.7695959766555951E-2</c:v>
                </c:pt>
                <c:pt idx="7481">
                  <c:v>2.420021248967064E-2</c:v>
                </c:pt>
                <c:pt idx="7482">
                  <c:v>3.9344193201694307E-2</c:v>
                </c:pt>
                <c:pt idx="7483">
                  <c:v>5.6848772763262077E-2</c:v>
                </c:pt>
                <c:pt idx="7484">
                  <c:v>8.5552394153838668E-2</c:v>
                </c:pt>
                <c:pt idx="7485">
                  <c:v>0.13477878699091708</c:v>
                </c:pt>
                <c:pt idx="7486">
                  <c:v>0.15844330258087122</c:v>
                </c:pt>
                <c:pt idx="7487">
                  <c:v>0.19132661025945238</c:v>
                </c:pt>
                <c:pt idx="7488">
                  <c:v>0.24487225039568464</c:v>
                </c:pt>
                <c:pt idx="7489">
                  <c:v>0.31935123042505592</c:v>
                </c:pt>
                <c:pt idx="7490">
                  <c:v>0.40331819079597075</c:v>
                </c:pt>
                <c:pt idx="7491">
                  <c:v>0.46928393165674803</c:v>
                </c:pt>
                <c:pt idx="7492">
                  <c:v>0.46704492003762937</c:v>
                </c:pt>
                <c:pt idx="7493">
                  <c:v>0.42348244687096392</c:v>
                </c:pt>
                <c:pt idx="7494">
                  <c:v>0.45165924436144228</c:v>
                </c:pt>
                <c:pt idx="7495">
                  <c:v>0.46692304704191429</c:v>
                </c:pt>
                <c:pt idx="7496">
                  <c:v>0.51771536228540671</c:v>
                </c:pt>
                <c:pt idx="7497">
                  <c:v>0.61234500078480625</c:v>
                </c:pt>
                <c:pt idx="7498">
                  <c:v>0.64889016456180637</c:v>
                </c:pt>
                <c:pt idx="7499">
                  <c:v>0.69436063148468974</c:v>
                </c:pt>
                <c:pt idx="7500">
                  <c:v>0.66121046193277799</c:v>
                </c:pt>
                <c:pt idx="7501">
                  <c:v>0.58092870637367</c:v>
                </c:pt>
                <c:pt idx="7502">
                  <c:v>0.56214183741177881</c:v>
                </c:pt>
                <c:pt idx="7503">
                  <c:v>0.57411249200224912</c:v>
                </c:pt>
                <c:pt idx="7504">
                  <c:v>0.5085439402642159</c:v>
                </c:pt>
                <c:pt idx="7505">
                  <c:v>0.54751822418160367</c:v>
                </c:pt>
                <c:pt idx="7506">
                  <c:v>0.58880340481257165</c:v>
                </c:pt>
                <c:pt idx="7507">
                  <c:v>0.63759221924363607</c:v>
                </c:pt>
                <c:pt idx="7508">
                  <c:v>0.69100026519443591</c:v>
                </c:pt>
                <c:pt idx="7509">
                  <c:v>0.74515691849804688</c:v>
                </c:pt>
                <c:pt idx="7510">
                  <c:v>0.74695361349425626</c:v>
                </c:pt>
                <c:pt idx="7511">
                  <c:v>0.74398304027933648</c:v>
                </c:pt>
                <c:pt idx="7512">
                  <c:v>0.69798310078021308</c:v>
                </c:pt>
                <c:pt idx="7513">
                  <c:v>0.70263939293962385</c:v>
                </c:pt>
                <c:pt idx="7514">
                  <c:v>0.70532823079187512</c:v>
                </c:pt>
                <c:pt idx="7515">
                  <c:v>0.7247363587421225</c:v>
                </c:pt>
                <c:pt idx="7516">
                  <c:v>0.64866764275256217</c:v>
                </c:pt>
                <c:pt idx="7517">
                  <c:v>0.50820570230807705</c:v>
                </c:pt>
                <c:pt idx="7518">
                  <c:v>0.50561164886515342</c:v>
                </c:pt>
                <c:pt idx="7519">
                  <c:v>0.53743593850096094</c:v>
                </c:pt>
                <c:pt idx="7520">
                  <c:v>0.54213270708116068</c:v>
                </c:pt>
                <c:pt idx="7521">
                  <c:v>0.55880116217849962</c:v>
                </c:pt>
                <c:pt idx="7522">
                  <c:v>0.54151077153322047</c:v>
                </c:pt>
                <c:pt idx="7523">
                  <c:v>0.56621950483699035</c:v>
                </c:pt>
                <c:pt idx="7524">
                  <c:v>0.62953712612852375</c:v>
                </c:pt>
                <c:pt idx="7525">
                  <c:v>0.72046302898125225</c:v>
                </c:pt>
                <c:pt idx="7526">
                  <c:v>0.76634847372285753</c:v>
                </c:pt>
                <c:pt idx="7527">
                  <c:v>0.72378277153558046</c:v>
                </c:pt>
                <c:pt idx="7528">
                  <c:v>0.72156078589642458</c:v>
                </c:pt>
                <c:pt idx="7529">
                  <c:v>0.75881304272816152</c:v>
                </c:pt>
                <c:pt idx="7530">
                  <c:v>0.83812642072115273</c:v>
                </c:pt>
                <c:pt idx="7531">
                  <c:v>0.92148060121916331</c:v>
                </c:pt>
                <c:pt idx="7532">
                  <c:v>0.97091044706540486</c:v>
                </c:pt>
                <c:pt idx="7533">
                  <c:v>1.0277494083945695</c:v>
                </c:pt>
                <c:pt idx="7534">
                  <c:v>1.0161398070705181</c:v>
                </c:pt>
                <c:pt idx="7535">
                  <c:v>1.2286255576605758</c:v>
                </c:pt>
                <c:pt idx="7536">
                  <c:v>1.1668924410728803</c:v>
                </c:pt>
                <c:pt idx="7537">
                  <c:v>1.1455589327929752</c:v>
                </c:pt>
                <c:pt idx="7538">
                  <c:v>1.1523709234794817</c:v>
                </c:pt>
                <c:pt idx="7539">
                  <c:v>1.0950950297171966</c:v>
                </c:pt>
                <c:pt idx="7540">
                  <c:v>1.027729524544811</c:v>
                </c:pt>
                <c:pt idx="7541">
                  <c:v>0.80898811915284397</c:v>
                </c:pt>
                <c:pt idx="7542">
                  <c:v>0.75242577267800015</c:v>
                </c:pt>
                <c:pt idx="7543">
                  <c:v>0.69379134860050884</c:v>
                </c:pt>
                <c:pt idx="7544">
                  <c:v>0.65476536746170255</c:v>
                </c:pt>
                <c:pt idx="7545">
                  <c:v>0.65842894969108556</c:v>
                </c:pt>
                <c:pt idx="7546">
                  <c:v>0.68608080565879392</c:v>
                </c:pt>
                <c:pt idx="7547">
                  <c:v>0.72694923103170939</c:v>
                </c:pt>
                <c:pt idx="7548">
                  <c:v>0.76327351254747189</c:v>
                </c:pt>
                <c:pt idx="7549">
                  <c:v>0.78110790101746008</c:v>
                </c:pt>
                <c:pt idx="7550">
                  <c:v>0.7946475424173518</c:v>
                </c:pt>
                <c:pt idx="7551">
                  <c:v>0.70017894908085254</c:v>
                </c:pt>
                <c:pt idx="7552">
                  <c:v>0.60584233693477396</c:v>
                </c:pt>
                <c:pt idx="7553">
                  <c:v>0.64002715784401765</c:v>
                </c:pt>
                <c:pt idx="7554">
                  <c:v>0.70871304471323404</c:v>
                </c:pt>
                <c:pt idx="7555">
                  <c:v>0.73460955454500998</c:v>
                </c:pt>
                <c:pt idx="7556">
                  <c:v>0.77127206015348437</c:v>
                </c:pt>
                <c:pt idx="7557">
                  <c:v>0.81534190453087507</c:v>
                </c:pt>
                <c:pt idx="7558">
                  <c:v>0.8732217692505061</c:v>
                </c:pt>
                <c:pt idx="7559">
                  <c:v>1.033166858752721</c:v>
                </c:pt>
                <c:pt idx="7560">
                  <c:v>1.0783604581072936</c:v>
                </c:pt>
                <c:pt idx="7561">
                  <c:v>1.076648228948363</c:v>
                </c:pt>
                <c:pt idx="7562">
                  <c:v>1.0420632163945813</c:v>
                </c:pt>
                <c:pt idx="7563">
                  <c:v>0.90945831210731876</c:v>
                </c:pt>
                <c:pt idx="7564">
                  <c:v>0.79207617752082971</c:v>
                </c:pt>
                <c:pt idx="7565">
                  <c:v>0.64507981737525499</c:v>
                </c:pt>
                <c:pt idx="7566">
                  <c:v>0.54166293743846772</c:v>
                </c:pt>
                <c:pt idx="7567">
                  <c:v>0.44976632283399248</c:v>
                </c:pt>
                <c:pt idx="7568">
                  <c:v>0.36108301563837236</c:v>
                </c:pt>
                <c:pt idx="7569">
                  <c:v>0.29823858084237426</c:v>
                </c:pt>
                <c:pt idx="7570">
                  <c:v>0.27924264724224812</c:v>
                </c:pt>
                <c:pt idx="7571">
                  <c:v>0.21069222040095825</c:v>
                </c:pt>
                <c:pt idx="7572">
                  <c:v>0.16853703845077231</c:v>
                </c:pt>
                <c:pt idx="7573">
                  <c:v>0.15373755005647396</c:v>
                </c:pt>
                <c:pt idx="7574">
                  <c:v>0.14824928542262147</c:v>
                </c:pt>
                <c:pt idx="7575">
                  <c:v>0.1543438510947536</c:v>
                </c:pt>
                <c:pt idx="7576">
                  <c:v>0.16153252549690283</c:v>
                </c:pt>
                <c:pt idx="7577">
                  <c:v>0.18277387235315481</c:v>
                </c:pt>
                <c:pt idx="7578">
                  <c:v>0.21822199714561946</c:v>
                </c:pt>
                <c:pt idx="7579">
                  <c:v>0.24588925970134709</c:v>
                </c:pt>
                <c:pt idx="7580">
                  <c:v>0.29421280592809057</c:v>
                </c:pt>
                <c:pt idx="7581">
                  <c:v>0.33770047436187028</c:v>
                </c:pt>
                <c:pt idx="7582">
                  <c:v>0.32180834903080763</c:v>
                </c:pt>
                <c:pt idx="7583">
                  <c:v>0.32063635775722693</c:v>
                </c:pt>
                <c:pt idx="7584">
                  <c:v>0.32484013120837607</c:v>
                </c:pt>
                <c:pt idx="7585">
                  <c:v>0.40605473318408131</c:v>
                </c:pt>
                <c:pt idx="7586">
                  <c:v>0.42658684219230636</c:v>
                </c:pt>
                <c:pt idx="7587">
                  <c:v>0.41305461297138096</c:v>
                </c:pt>
                <c:pt idx="7588">
                  <c:v>0.35876637586438298</c:v>
                </c:pt>
                <c:pt idx="7589">
                  <c:v>0.28419987471690833</c:v>
                </c:pt>
                <c:pt idx="7590">
                  <c:v>0.24400497969346313</c:v>
                </c:pt>
                <c:pt idx="7591">
                  <c:v>0.19771319676036206</c:v>
                </c:pt>
                <c:pt idx="7592">
                  <c:v>0.1553591336200032</c:v>
                </c:pt>
                <c:pt idx="7593">
                  <c:v>0.15097567282636803</c:v>
                </c:pt>
                <c:pt idx="7594">
                  <c:v>0.13264634948476212</c:v>
                </c:pt>
                <c:pt idx="7595">
                  <c:v>0.10946613739468566</c:v>
                </c:pt>
                <c:pt idx="7596">
                  <c:v>9.2046144505160896E-2</c:v>
                </c:pt>
                <c:pt idx="7597">
                  <c:v>9.2934714767195115E-2</c:v>
                </c:pt>
                <c:pt idx="7598">
                  <c:v>0.10027306788594652</c:v>
                </c:pt>
                <c:pt idx="7599">
                  <c:v>0.1206179321486268</c:v>
                </c:pt>
                <c:pt idx="7600">
                  <c:v>0.11501845018450187</c:v>
                </c:pt>
                <c:pt idx="7601">
                  <c:v>0.13797945600738662</c:v>
                </c:pt>
                <c:pt idx="7602">
                  <c:v>0.15394286656498621</c:v>
                </c:pt>
                <c:pt idx="7603">
                  <c:v>0.15019728189390616</c:v>
                </c:pt>
                <c:pt idx="7604">
                  <c:v>0.16073497765270653</c:v>
                </c:pt>
                <c:pt idx="7605">
                  <c:v>0.19557646324981806</c:v>
                </c:pt>
                <c:pt idx="7606">
                  <c:v>0.24108823361660869</c:v>
                </c:pt>
                <c:pt idx="7607">
                  <c:v>0.25892992166470069</c:v>
                </c:pt>
                <c:pt idx="7608">
                  <c:v>0.27685315781225511</c:v>
                </c:pt>
                <c:pt idx="7609">
                  <c:v>0.32514358647096364</c:v>
                </c:pt>
                <c:pt idx="7610">
                  <c:v>0.39362580153641041</c:v>
                </c:pt>
                <c:pt idx="7611">
                  <c:v>0.41773557341124912</c:v>
                </c:pt>
                <c:pt idx="7612">
                  <c:v>0.43549835378629148</c:v>
                </c:pt>
                <c:pt idx="7613">
                  <c:v>0.4083048079289438</c:v>
                </c:pt>
                <c:pt idx="7614">
                  <c:v>0.41333904709961433</c:v>
                </c:pt>
                <c:pt idx="7615">
                  <c:v>0.47954746604071269</c:v>
                </c:pt>
                <c:pt idx="7616">
                  <c:v>0.562226951943542</c:v>
                </c:pt>
                <c:pt idx="7617">
                  <c:v>0.62719896875947834</c:v>
                </c:pt>
                <c:pt idx="7618">
                  <c:v>0.658221106292323</c:v>
                </c:pt>
                <c:pt idx="7619">
                  <c:v>0.70021358728665761</c:v>
                </c:pt>
                <c:pt idx="7620">
                  <c:v>0.7069221453963046</c:v>
                </c:pt>
                <c:pt idx="7621">
                  <c:v>0.69940859349855156</c:v>
                </c:pt>
                <c:pt idx="7622">
                  <c:v>0.64881698768680496</c:v>
                </c:pt>
                <c:pt idx="7623">
                  <c:v>0.5783261802575107</c:v>
                </c:pt>
                <c:pt idx="7624">
                  <c:v>0.46801174818030894</c:v>
                </c:pt>
                <c:pt idx="7625">
                  <c:v>0.43601227344628463</c:v>
                </c:pt>
                <c:pt idx="7626">
                  <c:v>0.42072011286266331</c:v>
                </c:pt>
                <c:pt idx="7627">
                  <c:v>0.39538373273313032</c:v>
                </c:pt>
                <c:pt idx="7628">
                  <c:v>0.38998644889808143</c:v>
                </c:pt>
                <c:pt idx="7629">
                  <c:v>0.3754565943887464</c:v>
                </c:pt>
                <c:pt idx="7630">
                  <c:v>0.40593776762774764</c:v>
                </c:pt>
                <c:pt idx="7631">
                  <c:v>0.40558282208588958</c:v>
                </c:pt>
                <c:pt idx="7632">
                  <c:v>0.41554183114733229</c:v>
                </c:pt>
                <c:pt idx="7633">
                  <c:v>0.44773457010346057</c:v>
                </c:pt>
                <c:pt idx="7634">
                  <c:v>0.47199354317998388</c:v>
                </c:pt>
                <c:pt idx="7635">
                  <c:v>0.4476256324837361</c:v>
                </c:pt>
                <c:pt idx="7636">
                  <c:v>0.37289406877452108</c:v>
                </c:pt>
                <c:pt idx="7637">
                  <c:v>0.30088942307692307</c:v>
                </c:pt>
                <c:pt idx="7638">
                  <c:v>0.27269156018690816</c:v>
                </c:pt>
                <c:pt idx="7639">
                  <c:v>0.27998633330653588</c:v>
                </c:pt>
                <c:pt idx="7640">
                  <c:v>0.24668095903074169</c:v>
                </c:pt>
                <c:pt idx="7641">
                  <c:v>0.21823547685616654</c:v>
                </c:pt>
                <c:pt idx="7642">
                  <c:v>0.21674600952114259</c:v>
                </c:pt>
                <c:pt idx="7643">
                  <c:v>0.23155762608871786</c:v>
                </c:pt>
                <c:pt idx="7644">
                  <c:v>0.21044998590017319</c:v>
                </c:pt>
                <c:pt idx="7645">
                  <c:v>0.18599208896804525</c:v>
                </c:pt>
                <c:pt idx="7646">
                  <c:v>0.15183301546937911</c:v>
                </c:pt>
                <c:pt idx="7647">
                  <c:v>0.12053022824795021</c:v>
                </c:pt>
                <c:pt idx="7648">
                  <c:v>0.12580453141857958</c:v>
                </c:pt>
                <c:pt idx="7649">
                  <c:v>0.13749903033123886</c:v>
                </c:pt>
                <c:pt idx="7650">
                  <c:v>0.12412594646034175</c:v>
                </c:pt>
                <c:pt idx="7651">
                  <c:v>0.11333199634556677</c:v>
                </c:pt>
                <c:pt idx="7652">
                  <c:v>9.6894677616299954E-2</c:v>
                </c:pt>
                <c:pt idx="7653">
                  <c:v>9.3587022040516804E-2</c:v>
                </c:pt>
                <c:pt idx="7654">
                  <c:v>8.3440675540289111E-2</c:v>
                </c:pt>
                <c:pt idx="7655">
                  <c:v>9.7105166727739098E-2</c:v>
                </c:pt>
                <c:pt idx="7656">
                  <c:v>0.10701876302988186</c:v>
                </c:pt>
                <c:pt idx="7657">
                  <c:v>0.11675828591635323</c:v>
                </c:pt>
                <c:pt idx="7658">
                  <c:v>0.12751570311498525</c:v>
                </c:pt>
                <c:pt idx="7659">
                  <c:v>0.15922753465192338</c:v>
                </c:pt>
                <c:pt idx="7660">
                  <c:v>0.19197822661509814</c:v>
                </c:pt>
                <c:pt idx="7661">
                  <c:v>0.19314671131759545</c:v>
                </c:pt>
                <c:pt idx="7662">
                  <c:v>0.18335035750766088</c:v>
                </c:pt>
                <c:pt idx="7663">
                  <c:v>0.22932688495996195</c:v>
                </c:pt>
                <c:pt idx="7664">
                  <c:v>0.28128456312213623</c:v>
                </c:pt>
                <c:pt idx="7665">
                  <c:v>0.32478317390713835</c:v>
                </c:pt>
                <c:pt idx="7666">
                  <c:v>0.37130071018581573</c:v>
                </c:pt>
                <c:pt idx="7667">
                  <c:v>0.41988470346679307</c:v>
                </c:pt>
                <c:pt idx="7668">
                  <c:v>0.46307503658874249</c:v>
                </c:pt>
                <c:pt idx="7669">
                  <c:v>0.52937422725641126</c:v>
                </c:pt>
                <c:pt idx="7670">
                  <c:v>0.56728581884358986</c:v>
                </c:pt>
                <c:pt idx="7671">
                  <c:v>0.61406759704287073</c:v>
                </c:pt>
                <c:pt idx="7672">
                  <c:v>0.59067672398384152</c:v>
                </c:pt>
                <c:pt idx="7673">
                  <c:v>0.63493540821265038</c:v>
                </c:pt>
                <c:pt idx="7674">
                  <c:v>0.61015752201973439</c:v>
                </c:pt>
                <c:pt idx="7675">
                  <c:v>0.69189602446483178</c:v>
                </c:pt>
                <c:pt idx="7676">
                  <c:v>0.70227658695552408</c:v>
                </c:pt>
                <c:pt idx="7677">
                  <c:v>0.79003869679191108</c:v>
                </c:pt>
                <c:pt idx="7678">
                  <c:v>0.82187592998403791</c:v>
                </c:pt>
                <c:pt idx="7679">
                  <c:v>0.78915679840205466</c:v>
                </c:pt>
                <c:pt idx="7680">
                  <c:v>0.79277355178466935</c:v>
                </c:pt>
                <c:pt idx="7681">
                  <c:v>0.82788737555731995</c:v>
                </c:pt>
                <c:pt idx="7682">
                  <c:v>0.80634360706705321</c:v>
                </c:pt>
                <c:pt idx="7683">
                  <c:v>0.71292418772563182</c:v>
                </c:pt>
                <c:pt idx="7684">
                  <c:v>0.68801318138129897</c:v>
                </c:pt>
                <c:pt idx="7685">
                  <c:v>0.56154777990029348</c:v>
                </c:pt>
                <c:pt idx="7686">
                  <c:v>0.46060691545095517</c:v>
                </c:pt>
                <c:pt idx="7687">
                  <c:v>0.44087811063560001</c:v>
                </c:pt>
                <c:pt idx="7688">
                  <c:v>0.450281050589106</c:v>
                </c:pt>
                <c:pt idx="7689">
                  <c:v>0.46146838050345601</c:v>
                </c:pt>
                <c:pt idx="7690">
                  <c:v>0.51399074691395441</c:v>
                </c:pt>
                <c:pt idx="7691">
                  <c:v>0.55727806447569095</c:v>
                </c:pt>
                <c:pt idx="7692">
                  <c:v>0.61627956081081092</c:v>
                </c:pt>
                <c:pt idx="7693">
                  <c:v>0.62460464609008615</c:v>
                </c:pt>
                <c:pt idx="7694">
                  <c:v>0.59797000064376293</c:v>
                </c:pt>
                <c:pt idx="7695">
                  <c:v>0.56565887287678063</c:v>
                </c:pt>
                <c:pt idx="7696">
                  <c:v>0.54423488236437878</c:v>
                </c:pt>
                <c:pt idx="7697">
                  <c:v>0.58763623369662321</c:v>
                </c:pt>
                <c:pt idx="7698">
                  <c:v>0.65869735698692256</c:v>
                </c:pt>
                <c:pt idx="7699">
                  <c:v>0.73292864505783994</c:v>
                </c:pt>
                <c:pt idx="7700">
                  <c:v>0.81587371404833464</c:v>
                </c:pt>
                <c:pt idx="7701">
                  <c:v>0.88339794110851533</c:v>
                </c:pt>
                <c:pt idx="7702">
                  <c:v>0.98701877541924332</c:v>
                </c:pt>
                <c:pt idx="7703">
                  <c:v>1.05004993244434</c:v>
                </c:pt>
                <c:pt idx="7704">
                  <c:v>1.1197252510318487</c:v>
                </c:pt>
                <c:pt idx="7705">
                  <c:v>1.0818057963834531</c:v>
                </c:pt>
                <c:pt idx="7706">
                  <c:v>1.148751527303487</c:v>
                </c:pt>
                <c:pt idx="7707">
                  <c:v>1.1436181950004727</c:v>
                </c:pt>
                <c:pt idx="7708">
                  <c:v>0.99543778513842884</c:v>
                </c:pt>
                <c:pt idx="7709">
                  <c:v>0.91055915455115388</c:v>
                </c:pt>
                <c:pt idx="7710">
                  <c:v>0.82512489139878376</c:v>
                </c:pt>
                <c:pt idx="7711">
                  <c:v>0.7842173544234321</c:v>
                </c:pt>
                <c:pt idx="7712">
                  <c:v>0.69766293614219888</c:v>
                </c:pt>
                <c:pt idx="7713">
                  <c:v>0.65223648741261941</c:v>
                </c:pt>
                <c:pt idx="7714">
                  <c:v>0.64796949650863644</c:v>
                </c:pt>
                <c:pt idx="7715">
                  <c:v>0.72046967282272434</c:v>
                </c:pt>
                <c:pt idx="7716">
                  <c:v>0.77325748159479868</c:v>
                </c:pt>
                <c:pt idx="7717">
                  <c:v>0.82231923206791746</c:v>
                </c:pt>
                <c:pt idx="7718">
                  <c:v>0.8047966732749865</c:v>
                </c:pt>
                <c:pt idx="7719">
                  <c:v>0.77066475926505418</c:v>
                </c:pt>
                <c:pt idx="7720">
                  <c:v>0.72454238126649062</c:v>
                </c:pt>
                <c:pt idx="7721">
                  <c:v>0.80059223655129508</c:v>
                </c:pt>
                <c:pt idx="7722">
                  <c:v>0.89970548617611468</c:v>
                </c:pt>
                <c:pt idx="7723">
                  <c:v>0.96454258978614893</c:v>
                </c:pt>
                <c:pt idx="7724">
                  <c:v>0.96146009769987961</c:v>
                </c:pt>
                <c:pt idx="7725">
                  <c:v>1.1224910491483127</c:v>
                </c:pt>
                <c:pt idx="7726">
                  <c:v>1.0798777826276735</c:v>
                </c:pt>
                <c:pt idx="7727">
                  <c:v>1.0706457981630375</c:v>
                </c:pt>
                <c:pt idx="7728">
                  <c:v>1.1578321844544808</c:v>
                </c:pt>
                <c:pt idx="7729">
                  <c:v>1.080200727185312</c:v>
                </c:pt>
                <c:pt idx="7730">
                  <c:v>1.0704799275581045</c:v>
                </c:pt>
                <c:pt idx="7731">
                  <c:v>1.0811790140373312</c:v>
                </c:pt>
                <c:pt idx="7732">
                  <c:v>1.1106444257770312</c:v>
                </c:pt>
                <c:pt idx="7733">
                  <c:v>0.97187060478199705</c:v>
                </c:pt>
                <c:pt idx="7734">
                  <c:v>0.98849594055318557</c:v>
                </c:pt>
                <c:pt idx="7735">
                  <c:v>0.84731310216909672</c:v>
                </c:pt>
                <c:pt idx="7736">
                  <c:v>0.76546723421104723</c:v>
                </c:pt>
                <c:pt idx="7737">
                  <c:v>0.74531635765115944</c:v>
                </c:pt>
                <c:pt idx="7738">
                  <c:v>0.75253467240554761</c:v>
                </c:pt>
                <c:pt idx="7739">
                  <c:v>0.78069252475010753</c:v>
                </c:pt>
                <c:pt idx="7740">
                  <c:v>0.78759330386259863</c:v>
                </c:pt>
                <c:pt idx="7741">
                  <c:v>0.73850330901069061</c:v>
                </c:pt>
                <c:pt idx="7742">
                  <c:v>0.6416780469105634</c:v>
                </c:pt>
                <c:pt idx="7743">
                  <c:v>0.52871156177670009</c:v>
                </c:pt>
                <c:pt idx="7744">
                  <c:v>0.44001531609600764</c:v>
                </c:pt>
                <c:pt idx="7745">
                  <c:v>0.40463762087969224</c:v>
                </c:pt>
                <c:pt idx="7746">
                  <c:v>0.38516757045070665</c:v>
                </c:pt>
                <c:pt idx="7747">
                  <c:v>0.40485675437131746</c:v>
                </c:pt>
                <c:pt idx="7748">
                  <c:v>0.4485997963340122</c:v>
                </c:pt>
                <c:pt idx="7749">
                  <c:v>0.46876377258704277</c:v>
                </c:pt>
                <c:pt idx="7750">
                  <c:v>0.51041911246771554</c:v>
                </c:pt>
                <c:pt idx="7751">
                  <c:v>0.50491883915395963</c:v>
                </c:pt>
                <c:pt idx="7752">
                  <c:v>0.52645026970758024</c:v>
                </c:pt>
                <c:pt idx="7753">
                  <c:v>0.50973208881526555</c:v>
                </c:pt>
                <c:pt idx="7754">
                  <c:v>0.50364362207718139</c:v>
                </c:pt>
                <c:pt idx="7755">
                  <c:v>0.47272446775686516</c:v>
                </c:pt>
                <c:pt idx="7756">
                  <c:v>0.43319527970044258</c:v>
                </c:pt>
                <c:pt idx="7757">
                  <c:v>0.302248284703592</c:v>
                </c:pt>
                <c:pt idx="7758">
                  <c:v>0.21704059504266229</c:v>
                </c:pt>
                <c:pt idx="7759">
                  <c:v>0.1661942647145063</c:v>
                </c:pt>
                <c:pt idx="7760">
                  <c:v>0.11789064646543944</c:v>
                </c:pt>
                <c:pt idx="7761">
                  <c:v>9.3219511242210534E-2</c:v>
                </c:pt>
                <c:pt idx="7762">
                  <c:v>6.8947936072163943E-2</c:v>
                </c:pt>
                <c:pt idx="7763">
                  <c:v>5.4300643086816716E-2</c:v>
                </c:pt>
                <c:pt idx="7764">
                  <c:v>3.9044814391890538E-2</c:v>
                </c:pt>
                <c:pt idx="7765">
                  <c:v>2.9745962178394619E-2</c:v>
                </c:pt>
                <c:pt idx="7766">
                  <c:v>2.5911965231003729E-2</c:v>
                </c:pt>
                <c:pt idx="7767">
                  <c:v>2.648105302043435E-2</c:v>
                </c:pt>
                <c:pt idx="7768">
                  <c:v>2.8614294494053002E-2</c:v>
                </c:pt>
                <c:pt idx="7769">
                  <c:v>3.2781937868985422E-2</c:v>
                </c:pt>
                <c:pt idx="7770">
                  <c:v>3.4571526255455225E-2</c:v>
                </c:pt>
                <c:pt idx="7771">
                  <c:v>3.7297601523941466E-2</c:v>
                </c:pt>
                <c:pt idx="7772">
                  <c:v>4.1108460267939066E-2</c:v>
                </c:pt>
                <c:pt idx="7773">
                  <c:v>4.0563208458293094E-2</c:v>
                </c:pt>
                <c:pt idx="7774">
                  <c:v>3.8530788620813827E-2</c:v>
                </c:pt>
                <c:pt idx="7775">
                  <c:v>3.020441972605982E-2</c:v>
                </c:pt>
                <c:pt idx="7776">
                  <c:v>2.3051759454584361E-2</c:v>
                </c:pt>
                <c:pt idx="7777">
                  <c:v>1.5181967162425402E-2</c:v>
                </c:pt>
                <c:pt idx="7778">
                  <c:v>1.6656403940886699E-2</c:v>
                </c:pt>
                <c:pt idx="7779">
                  <c:v>9.403449928126497E-3</c:v>
                </c:pt>
                <c:pt idx="7780">
                  <c:v>8.3453078368519954E-3</c:v>
                </c:pt>
                <c:pt idx="7781">
                  <c:v>5.1972650836182204E-3</c:v>
                </c:pt>
                <c:pt idx="7782">
                  <c:v>4.1799560213157949E-3</c:v>
                </c:pt>
                <c:pt idx="7783">
                  <c:v>6.4274546893396903E-3</c:v>
                </c:pt>
                <c:pt idx="7784">
                  <c:v>7.9831037222189948E-3</c:v>
                </c:pt>
                <c:pt idx="7785">
                  <c:v>1.1342916914573056E-2</c:v>
                </c:pt>
                <c:pt idx="7786">
                  <c:v>1.1505626697710518E-2</c:v>
                </c:pt>
                <c:pt idx="7787">
                  <c:v>9.3738208249756708E-3</c:v>
                </c:pt>
                <c:pt idx="7788">
                  <c:v>1.2736073639104905E-2</c:v>
                </c:pt>
                <c:pt idx="7789">
                  <c:v>2.1561383320210771E-2</c:v>
                </c:pt>
                <c:pt idx="7790">
                  <c:v>3.435529909440007E-2</c:v>
                </c:pt>
                <c:pt idx="7791">
                  <c:v>4.5400054139757916E-2</c:v>
                </c:pt>
                <c:pt idx="7792">
                  <c:v>8.4480191728094692E-2</c:v>
                </c:pt>
                <c:pt idx="7793">
                  <c:v>0.13626002051593786</c:v>
                </c:pt>
                <c:pt idx="7794">
                  <c:v>0.21774814574636239</c:v>
                </c:pt>
                <c:pt idx="7795">
                  <c:v>0.33016760987879185</c:v>
                </c:pt>
                <c:pt idx="7796">
                  <c:v>0.45207990163097694</c:v>
                </c:pt>
                <c:pt idx="7797">
                  <c:v>0.59384087689210341</c:v>
                </c:pt>
                <c:pt idx="7798">
                  <c:v>0.81772312443133255</c:v>
                </c:pt>
                <c:pt idx="7799">
                  <c:v>0.83020989505247378</c:v>
                </c:pt>
                <c:pt idx="7800">
                  <c:v>0.95578852694004901</c:v>
                </c:pt>
                <c:pt idx="7801">
                  <c:v>0.90626310052821335</c:v>
                </c:pt>
                <c:pt idx="7802">
                  <c:v>0.91294343799149524</c:v>
                </c:pt>
                <c:pt idx="7803">
                  <c:v>0.86012642365848901</c:v>
                </c:pt>
                <c:pt idx="7804">
                  <c:v>0.82351392618333064</c:v>
                </c:pt>
                <c:pt idx="7805">
                  <c:v>0.77018924489413509</c:v>
                </c:pt>
                <c:pt idx="7806">
                  <c:v>0.63834044015116309</c:v>
                </c:pt>
                <c:pt idx="7807">
                  <c:v>0.56288527895165352</c:v>
                </c:pt>
                <c:pt idx="7808">
                  <c:v>0.56154761672487474</c:v>
                </c:pt>
                <c:pt idx="7809">
                  <c:v>0.53616222737108177</c:v>
                </c:pt>
                <c:pt idx="7810">
                  <c:v>0.52158189905240759</c:v>
                </c:pt>
                <c:pt idx="7811">
                  <c:v>0.52054553281415095</c:v>
                </c:pt>
                <c:pt idx="7812">
                  <c:v>0.55680681171646618</c:v>
                </c:pt>
                <c:pt idx="7813">
                  <c:v>0.60922680313203414</c:v>
                </c:pt>
                <c:pt idx="7814">
                  <c:v>0.69887853046100479</c:v>
                </c:pt>
                <c:pt idx="7815">
                  <c:v>0.73490868801100351</c:v>
                </c:pt>
                <c:pt idx="7816">
                  <c:v>0.72317623805465381</c:v>
                </c:pt>
                <c:pt idx="7817">
                  <c:v>0.77616085525690059</c:v>
                </c:pt>
                <c:pt idx="7818">
                  <c:v>0.85214911387247905</c:v>
                </c:pt>
                <c:pt idx="7819">
                  <c:v>0.83967255457423784</c:v>
                </c:pt>
                <c:pt idx="7820">
                  <c:v>0.92839808527218071</c:v>
                </c:pt>
                <c:pt idx="7821">
                  <c:v>1.0258919420176682</c:v>
                </c:pt>
                <c:pt idx="7822">
                  <c:v>1.0795764311176348</c:v>
                </c:pt>
                <c:pt idx="7823">
                  <c:v>1.0889676758164142</c:v>
                </c:pt>
                <c:pt idx="7824">
                  <c:v>1.1830541814920883</c:v>
                </c:pt>
                <c:pt idx="7825">
                  <c:v>1.1736621196222454</c:v>
                </c:pt>
                <c:pt idx="7826">
                  <c:v>1.165942280945758</c:v>
                </c:pt>
                <c:pt idx="7827">
                  <c:v>1.133060070671378</c:v>
                </c:pt>
                <c:pt idx="7828">
                  <c:v>1.0525874052508721</c:v>
                </c:pt>
                <c:pt idx="7829">
                  <c:v>0.92349245095380161</c:v>
                </c:pt>
                <c:pt idx="7830">
                  <c:v>0.82420923388747058</c:v>
                </c:pt>
                <c:pt idx="7831">
                  <c:v>0.82375319390555501</c:v>
                </c:pt>
                <c:pt idx="7832">
                  <c:v>0.85616612295130001</c:v>
                </c:pt>
                <c:pt idx="7833">
                  <c:v>0.78896878061403664</c:v>
                </c:pt>
                <c:pt idx="7834">
                  <c:v>0.79803092668817455</c:v>
                </c:pt>
                <c:pt idx="7835">
                  <c:v>0.81873852953294124</c:v>
                </c:pt>
                <c:pt idx="7836">
                  <c:v>0.84431738578920479</c:v>
                </c:pt>
                <c:pt idx="7837">
                  <c:v>0.86211943793911006</c:v>
                </c:pt>
                <c:pt idx="7838">
                  <c:v>0.82446713236611124</c:v>
                </c:pt>
                <c:pt idx="7839">
                  <c:v>0.78579759469226207</c:v>
                </c:pt>
                <c:pt idx="7840">
                  <c:v>0.70132325141776941</c:v>
                </c:pt>
                <c:pt idx="7841">
                  <c:v>0.67911557400791733</c:v>
                </c:pt>
                <c:pt idx="7842">
                  <c:v>0.70320174075225372</c:v>
                </c:pt>
                <c:pt idx="7843">
                  <c:v>0.79095532950022118</c:v>
                </c:pt>
                <c:pt idx="7844">
                  <c:v>0.89951679434295817</c:v>
                </c:pt>
                <c:pt idx="7845">
                  <c:v>1.0101993865030674</c:v>
                </c:pt>
                <c:pt idx="7846">
                  <c:v>1.0342939558238293</c:v>
                </c:pt>
                <c:pt idx="7847">
                  <c:v>0.99177441618073769</c:v>
                </c:pt>
                <c:pt idx="7848">
                  <c:v>1.0032502050362988</c:v>
                </c:pt>
                <c:pt idx="7849">
                  <c:v>0.90558928849447307</c:v>
                </c:pt>
                <c:pt idx="7850">
                  <c:v>0.79989207377075178</c:v>
                </c:pt>
                <c:pt idx="7851">
                  <c:v>0.65307213382806117</c:v>
                </c:pt>
                <c:pt idx="7852">
                  <c:v>0.50913334101648033</c:v>
                </c:pt>
                <c:pt idx="7853">
                  <c:v>0.36762397043549672</c:v>
                </c:pt>
                <c:pt idx="7854">
                  <c:v>0.21800429361737264</c:v>
                </c:pt>
                <c:pt idx="7855">
                  <c:v>0.15748911871580881</c:v>
                </c:pt>
                <c:pt idx="7856">
                  <c:v>0.12263886665599487</c:v>
                </c:pt>
                <c:pt idx="7857">
                  <c:v>9.1276075327619471E-2</c:v>
                </c:pt>
                <c:pt idx="7858">
                  <c:v>7.5644355644355649E-2</c:v>
                </c:pt>
                <c:pt idx="7859">
                  <c:v>7.9085061940313936E-2</c:v>
                </c:pt>
                <c:pt idx="7860">
                  <c:v>8.9129052765416411E-2</c:v>
                </c:pt>
                <c:pt idx="7861">
                  <c:v>0.12291447137337548</c:v>
                </c:pt>
                <c:pt idx="7862">
                  <c:v>0.13128193734725616</c:v>
                </c:pt>
                <c:pt idx="7863">
                  <c:v>0.1464038742149005</c:v>
                </c:pt>
                <c:pt idx="7864">
                  <c:v>0.16316000803051597</c:v>
                </c:pt>
                <c:pt idx="7865">
                  <c:v>0.2091308310547684</c:v>
                </c:pt>
                <c:pt idx="7866">
                  <c:v>0.22768758227292676</c:v>
                </c:pt>
                <c:pt idx="7867">
                  <c:v>0.22827158754754193</c:v>
                </c:pt>
                <c:pt idx="7868">
                  <c:v>0.23034014280047602</c:v>
                </c:pt>
                <c:pt idx="7869">
                  <c:v>0.28933149698061233</c:v>
                </c:pt>
                <c:pt idx="7870">
                  <c:v>0.32763966239880576</c:v>
                </c:pt>
                <c:pt idx="7871">
                  <c:v>0.36191346739792807</c:v>
                </c:pt>
                <c:pt idx="7872">
                  <c:v>0.38666497090712532</c:v>
                </c:pt>
                <c:pt idx="7873">
                  <c:v>0.42839441763401587</c:v>
                </c:pt>
                <c:pt idx="7874">
                  <c:v>0.44373666064685607</c:v>
                </c:pt>
                <c:pt idx="7875">
                  <c:v>0.405200715098326</c:v>
                </c:pt>
                <c:pt idx="7876">
                  <c:v>0.40285732467863045</c:v>
                </c:pt>
                <c:pt idx="7877">
                  <c:v>0.371693279313632</c:v>
                </c:pt>
                <c:pt idx="7878">
                  <c:v>0.32963876317714957</c:v>
                </c:pt>
                <c:pt idx="7879">
                  <c:v>0.26947650193186695</c:v>
                </c:pt>
                <c:pt idx="7880">
                  <c:v>0.20839522737074129</c:v>
                </c:pt>
                <c:pt idx="7881">
                  <c:v>0.19711459770383707</c:v>
                </c:pt>
                <c:pt idx="7882">
                  <c:v>0.17646506165590137</c:v>
                </c:pt>
                <c:pt idx="7883">
                  <c:v>0.20010500441495835</c:v>
                </c:pt>
                <c:pt idx="7884">
                  <c:v>0.20378859540614616</c:v>
                </c:pt>
                <c:pt idx="7885">
                  <c:v>0.206505477534868</c:v>
                </c:pt>
                <c:pt idx="7886">
                  <c:v>0.20073316242183198</c:v>
                </c:pt>
                <c:pt idx="7887">
                  <c:v>0.19636758770568147</c:v>
                </c:pt>
                <c:pt idx="7888">
                  <c:v>0.20285117212555087</c:v>
                </c:pt>
                <c:pt idx="7889">
                  <c:v>0.20617985902595884</c:v>
                </c:pt>
                <c:pt idx="7890">
                  <c:v>0.27436615836854678</c:v>
                </c:pt>
                <c:pt idx="7891">
                  <c:v>0.25477567152162778</c:v>
                </c:pt>
                <c:pt idx="7892">
                  <c:v>0.31629935241278462</c:v>
                </c:pt>
                <c:pt idx="7893">
                  <c:v>0.42623646784122271</c:v>
                </c:pt>
                <c:pt idx="7894">
                  <c:v>0.5521247765669145</c:v>
                </c:pt>
                <c:pt idx="7895">
                  <c:v>0.69046914748861143</c:v>
                </c:pt>
                <c:pt idx="7896">
                  <c:v>0.78232719860919608</c:v>
                </c:pt>
                <c:pt idx="7897">
                  <c:v>0.84005889246116405</c:v>
                </c:pt>
                <c:pt idx="7898">
                  <c:v>0.85651515601341921</c:v>
                </c:pt>
                <c:pt idx="7899">
                  <c:v>0.87996932123226401</c:v>
                </c:pt>
                <c:pt idx="7900">
                  <c:v>0.82418952618453867</c:v>
                </c:pt>
                <c:pt idx="7901">
                  <c:v>0.77197612692319229</c:v>
                </c:pt>
                <c:pt idx="7902">
                  <c:v>0.72308805521540687</c:v>
                </c:pt>
                <c:pt idx="7903">
                  <c:v>0.67149571325276314</c:v>
                </c:pt>
                <c:pt idx="7904">
                  <c:v>0.61458027230874712</c:v>
                </c:pt>
                <c:pt idx="7905">
                  <c:v>0.60701920796774966</c:v>
                </c:pt>
                <c:pt idx="7906">
                  <c:v>0.6423464107630068</c:v>
                </c:pt>
                <c:pt idx="7907">
                  <c:v>0.69094134342478719</c:v>
                </c:pt>
                <c:pt idx="7908">
                  <c:v>0.75364008374571734</c:v>
                </c:pt>
                <c:pt idx="7909">
                  <c:v>0.79558998808104886</c:v>
                </c:pt>
                <c:pt idx="7910">
                  <c:v>0.81215678848702899</c:v>
                </c:pt>
                <c:pt idx="7911">
                  <c:v>0.76159245448563284</c:v>
                </c:pt>
                <c:pt idx="7912">
                  <c:v>0.71700129011449765</c:v>
                </c:pt>
                <c:pt idx="7913">
                  <c:v>0.75638788483111052</c:v>
                </c:pt>
                <c:pt idx="7914">
                  <c:v>0.8114715978296978</c:v>
                </c:pt>
                <c:pt idx="7915">
                  <c:v>0.86864036640933018</c:v>
                </c:pt>
                <c:pt idx="7916">
                  <c:v>0.94993913572732813</c:v>
                </c:pt>
                <c:pt idx="7917">
                  <c:v>1.0002732240437158</c:v>
                </c:pt>
                <c:pt idx="7918">
                  <c:v>1.0643322953998002</c:v>
                </c:pt>
                <c:pt idx="7919">
                  <c:v>1.1013627315878121</c:v>
                </c:pt>
                <c:pt idx="7920">
                  <c:v>1.0906401460313462</c:v>
                </c:pt>
                <c:pt idx="7921">
                  <c:v>1.0553839294245042</c:v>
                </c:pt>
                <c:pt idx="7922">
                  <c:v>0.9556007887538962</c:v>
                </c:pt>
                <c:pt idx="7923">
                  <c:v>0.87372456867231474</c:v>
                </c:pt>
                <c:pt idx="7924">
                  <c:v>0.77399443024891623</c:v>
                </c:pt>
                <c:pt idx="7925">
                  <c:v>0.5526396165683809</c:v>
                </c:pt>
                <c:pt idx="7926">
                  <c:v>0.46390906479543681</c:v>
                </c:pt>
                <c:pt idx="7927">
                  <c:v>0.44275166998710891</c:v>
                </c:pt>
                <c:pt idx="7928">
                  <c:v>0.47026708263582406</c:v>
                </c:pt>
                <c:pt idx="7929">
                  <c:v>0.50189513581806688</c:v>
                </c:pt>
                <c:pt idx="7930">
                  <c:v>0.58339009990917345</c:v>
                </c:pt>
                <c:pt idx="7931">
                  <c:v>0.63216189832544856</c:v>
                </c:pt>
                <c:pt idx="7932">
                  <c:v>0.65730186658506717</c:v>
                </c:pt>
                <c:pt idx="7933">
                  <c:v>0.63223433399107276</c:v>
                </c:pt>
                <c:pt idx="7934">
                  <c:v>0.60478535448462523</c:v>
                </c:pt>
                <c:pt idx="7935">
                  <c:v>0.53192463332906081</c:v>
                </c:pt>
                <c:pt idx="7936">
                  <c:v>0.4173320350535541</c:v>
                </c:pt>
                <c:pt idx="7937">
                  <c:v>0.38807649043869519</c:v>
                </c:pt>
                <c:pt idx="7938">
                  <c:v>0.35262759997673832</c:v>
                </c:pt>
                <c:pt idx="7939">
                  <c:v>0.32132087174112972</c:v>
                </c:pt>
                <c:pt idx="7940">
                  <c:v>0.35225172534799387</c:v>
                </c:pt>
                <c:pt idx="7941">
                  <c:v>0.39139375867564646</c:v>
                </c:pt>
                <c:pt idx="7942">
                  <c:v>0.42257882882882886</c:v>
                </c:pt>
                <c:pt idx="7943">
                  <c:v>0.42656007636320248</c:v>
                </c:pt>
                <c:pt idx="7944">
                  <c:v>0.52787477792072546</c:v>
                </c:pt>
                <c:pt idx="7945">
                  <c:v>0.54876043315026835</c:v>
                </c:pt>
                <c:pt idx="7946">
                  <c:v>0.58342599456387456</c:v>
                </c:pt>
                <c:pt idx="7947">
                  <c:v>0.58775057681359177</c:v>
                </c:pt>
                <c:pt idx="7948">
                  <c:v>0.50708344513013148</c:v>
                </c:pt>
                <c:pt idx="7949">
                  <c:v>0.41193883683144522</c:v>
                </c:pt>
                <c:pt idx="7950">
                  <c:v>0.35400402800421982</c:v>
                </c:pt>
                <c:pt idx="7951">
                  <c:v>0.36782264811012239</c:v>
                </c:pt>
                <c:pt idx="7952">
                  <c:v>0.3684250231031817</c:v>
                </c:pt>
                <c:pt idx="7953">
                  <c:v>0.34088198016849325</c:v>
                </c:pt>
                <c:pt idx="7954">
                  <c:v>0.32170794700756244</c:v>
                </c:pt>
                <c:pt idx="7955">
                  <c:v>0.283315864697475</c:v>
                </c:pt>
                <c:pt idx="7956">
                  <c:v>0.26350694309385819</c:v>
                </c:pt>
                <c:pt idx="7957">
                  <c:v>0.25490427794847553</c:v>
                </c:pt>
                <c:pt idx="7958">
                  <c:v>0.27360108483228968</c:v>
                </c:pt>
                <c:pt idx="7959">
                  <c:v>0.24045380134769867</c:v>
                </c:pt>
                <c:pt idx="7960">
                  <c:v>0.20924960731115236</c:v>
                </c:pt>
                <c:pt idx="7961">
                  <c:v>0.18882318927085859</c:v>
                </c:pt>
                <c:pt idx="7962">
                  <c:v>0.15227832023497656</c:v>
                </c:pt>
                <c:pt idx="7963">
                  <c:v>0.14074089817432148</c:v>
                </c:pt>
                <c:pt idx="7964">
                  <c:v>0.1370860623826318</c:v>
                </c:pt>
                <c:pt idx="7965">
                  <c:v>0.13108548508398093</c:v>
                </c:pt>
                <c:pt idx="7966">
                  <c:v>0.12984767393989297</c:v>
                </c:pt>
                <c:pt idx="7967">
                  <c:v>0.12089676498572789</c:v>
                </c:pt>
                <c:pt idx="7968">
                  <c:v>0.12300556586270872</c:v>
                </c:pt>
                <c:pt idx="7969">
                  <c:v>0.10156323423451645</c:v>
                </c:pt>
                <c:pt idx="7970">
                  <c:v>8.0613546560467944E-2</c:v>
                </c:pt>
                <c:pt idx="7971">
                  <c:v>8.5107655502392354E-2</c:v>
                </c:pt>
                <c:pt idx="7972">
                  <c:v>6.7554552709061397E-2</c:v>
                </c:pt>
                <c:pt idx="7973">
                  <c:v>4.5629731589814176E-2</c:v>
                </c:pt>
                <c:pt idx="7974">
                  <c:v>4.4503703703703705E-2</c:v>
                </c:pt>
                <c:pt idx="7975">
                  <c:v>3.9411966594211187E-2</c:v>
                </c:pt>
                <c:pt idx="7976">
                  <c:v>3.9487012862903993E-2</c:v>
                </c:pt>
                <c:pt idx="7977">
                  <c:v>3.9782316021009921E-2</c:v>
                </c:pt>
                <c:pt idx="7978">
                  <c:v>3.7793039941679776E-2</c:v>
                </c:pt>
                <c:pt idx="7979">
                  <c:v>3.519353516425601E-2</c:v>
                </c:pt>
                <c:pt idx="7980">
                  <c:v>3.0092277804759593E-2</c:v>
                </c:pt>
                <c:pt idx="7981">
                  <c:v>2.7564783138689E-2</c:v>
                </c:pt>
                <c:pt idx="7982">
                  <c:v>3.0935452947755234E-2</c:v>
                </c:pt>
                <c:pt idx="7983">
                  <c:v>2.7888446215139442E-2</c:v>
                </c:pt>
                <c:pt idx="7984">
                  <c:v>2.1485144966491058E-2</c:v>
                </c:pt>
                <c:pt idx="7985">
                  <c:v>2.1276991117553056E-2</c:v>
                </c:pt>
                <c:pt idx="7986">
                  <c:v>2.6503125554613396E-2</c:v>
                </c:pt>
                <c:pt idx="7987">
                  <c:v>2.6785902600552591E-2</c:v>
                </c:pt>
                <c:pt idx="7988">
                  <c:v>1.8373473579667295E-2</c:v>
                </c:pt>
                <c:pt idx="7989">
                  <c:v>2.010099765981032E-2</c:v>
                </c:pt>
                <c:pt idx="7990">
                  <c:v>3.1766612641815233E-2</c:v>
                </c:pt>
                <c:pt idx="7991">
                  <c:v>3.1929582326544699E-2</c:v>
                </c:pt>
                <c:pt idx="7992">
                  <c:v>3.3242977569926419E-2</c:v>
                </c:pt>
                <c:pt idx="7993">
                  <c:v>3.7135278514588858E-2</c:v>
                </c:pt>
                <c:pt idx="7994">
                  <c:v>2.9275901373807669E-2</c:v>
                </c:pt>
                <c:pt idx="7995">
                  <c:v>1.7857142857142856E-2</c:v>
                </c:pt>
                <c:pt idx="7996">
                  <c:v>1.2908777969018933E-2</c:v>
                </c:pt>
                <c:pt idx="7997">
                  <c:v>1.3380789331411066E-2</c:v>
                </c:pt>
                <c:pt idx="7998">
                  <c:v>1.670973633590456E-2</c:v>
                </c:pt>
                <c:pt idx="7999">
                  <c:v>2.3151802157327022E-2</c:v>
                </c:pt>
                <c:pt idx="8000">
                  <c:v>3.2020770229337948E-2</c:v>
                </c:pt>
                <c:pt idx="8001">
                  <c:v>4.180595795260382E-2</c:v>
                </c:pt>
                <c:pt idx="8002">
                  <c:v>4.5554325597103137E-2</c:v>
                </c:pt>
                <c:pt idx="8003">
                  <c:v>3.9720612503358024E-2</c:v>
                </c:pt>
                <c:pt idx="8004">
                  <c:v>4.0570621140855162E-2</c:v>
                </c:pt>
                <c:pt idx="8005">
                  <c:v>4.9344037595457219E-2</c:v>
                </c:pt>
                <c:pt idx="8006">
                  <c:v>7.492451930716669E-2</c:v>
                </c:pt>
                <c:pt idx="8007">
                  <c:v>9.0567107750472581E-2</c:v>
                </c:pt>
                <c:pt idx="8008">
                  <c:v>9.7577171572146432E-2</c:v>
                </c:pt>
                <c:pt idx="8009">
                  <c:v>0.11607941001191896</c:v>
                </c:pt>
                <c:pt idx="8010">
                  <c:v>0.13434867525498631</c:v>
                </c:pt>
                <c:pt idx="8011">
                  <c:v>0.15352845734032913</c:v>
                </c:pt>
                <c:pt idx="8012">
                  <c:v>0.17088979223125567</c:v>
                </c:pt>
                <c:pt idx="8013">
                  <c:v>0.17263899842271294</c:v>
                </c:pt>
                <c:pt idx="8014">
                  <c:v>0.18718880366034182</c:v>
                </c:pt>
                <c:pt idx="8015">
                  <c:v>0.28717132721202004</c:v>
                </c:pt>
                <c:pt idx="8016">
                  <c:v>0.21223583093179635</c:v>
                </c:pt>
                <c:pt idx="8017">
                  <c:v>0.22220180113949639</c:v>
                </c:pt>
                <c:pt idx="8018">
                  <c:v>0.24749450012221949</c:v>
                </c:pt>
                <c:pt idx="8019">
                  <c:v>0.26062978117772634</c:v>
                </c:pt>
                <c:pt idx="8020">
                  <c:v>0.24524063878160351</c:v>
                </c:pt>
                <c:pt idx="8021">
                  <c:v>0.20528703341239321</c:v>
                </c:pt>
                <c:pt idx="8022">
                  <c:v>0.18979437616831724</c:v>
                </c:pt>
                <c:pt idx="8023">
                  <c:v>0.19285960280105613</c:v>
                </c:pt>
                <c:pt idx="8024">
                  <c:v>0.18678039200585311</c:v>
                </c:pt>
                <c:pt idx="8025">
                  <c:v>0.16327150532530901</c:v>
                </c:pt>
                <c:pt idx="8026">
                  <c:v>0.1318535345756969</c:v>
                </c:pt>
                <c:pt idx="8027">
                  <c:v>0.12192688378033203</c:v>
                </c:pt>
                <c:pt idx="8028">
                  <c:v>0.10875017842941333</c:v>
                </c:pt>
                <c:pt idx="8029">
                  <c:v>9.8149503397804497E-2</c:v>
                </c:pt>
                <c:pt idx="8030">
                  <c:v>9.5273186651226444E-2</c:v>
                </c:pt>
                <c:pt idx="8031">
                  <c:v>7.8736068389725564E-2</c:v>
                </c:pt>
                <c:pt idx="8032">
                  <c:v>6.1316691234182659E-2</c:v>
                </c:pt>
                <c:pt idx="8033">
                  <c:v>4.8269562972817343E-2</c:v>
                </c:pt>
                <c:pt idx="8034">
                  <c:v>4.2783920023721778E-2</c:v>
                </c:pt>
                <c:pt idx="8035">
                  <c:v>3.7115924952415488E-2</c:v>
                </c:pt>
                <c:pt idx="8036">
                  <c:v>3.7124973019641704E-2</c:v>
                </c:pt>
                <c:pt idx="8037">
                  <c:v>4.4136581346242987E-2</c:v>
                </c:pt>
                <c:pt idx="8038">
                  <c:v>8.4096632260563978E-2</c:v>
                </c:pt>
                <c:pt idx="8039">
                  <c:v>0.15960158195400614</c:v>
                </c:pt>
                <c:pt idx="8040">
                  <c:v>0.24170210162439967</c:v>
                </c:pt>
                <c:pt idx="8041">
                  <c:v>0.27700900561674352</c:v>
                </c:pt>
                <c:pt idx="8042">
                  <c:v>0.30482198903084678</c:v>
                </c:pt>
                <c:pt idx="8043">
                  <c:v>0.33936126868712196</c:v>
                </c:pt>
                <c:pt idx="8044">
                  <c:v>0.38832076681217376</c:v>
                </c:pt>
                <c:pt idx="8045">
                  <c:v>0.37354174391739636</c:v>
                </c:pt>
                <c:pt idx="8046">
                  <c:v>0.36032451829315865</c:v>
                </c:pt>
                <c:pt idx="8047">
                  <c:v>0.33069052468237808</c:v>
                </c:pt>
                <c:pt idx="8048">
                  <c:v>0.32027520359449591</c:v>
                </c:pt>
                <c:pt idx="8049">
                  <c:v>0.33308174374456795</c:v>
                </c:pt>
                <c:pt idx="8050">
                  <c:v>0.36228716060745514</c:v>
                </c:pt>
                <c:pt idx="8051">
                  <c:v>0.37158225011205737</c:v>
                </c:pt>
                <c:pt idx="8052">
                  <c:v>0.38137583892617455</c:v>
                </c:pt>
                <c:pt idx="8053">
                  <c:v>0.41126733574456875</c:v>
                </c:pt>
                <c:pt idx="8054">
                  <c:v>0.41688954107595083</c:v>
                </c:pt>
                <c:pt idx="8055">
                  <c:v>0.4104321842111045</c:v>
                </c:pt>
                <c:pt idx="8056">
                  <c:v>0.41749984474942564</c:v>
                </c:pt>
                <c:pt idx="8057">
                  <c:v>0.46970312266227787</c:v>
                </c:pt>
                <c:pt idx="8058">
                  <c:v>0.52134139386335121</c:v>
                </c:pt>
                <c:pt idx="8059">
                  <c:v>0.57395818172997615</c:v>
                </c:pt>
                <c:pt idx="8060">
                  <c:v>0.60183603213056225</c:v>
                </c:pt>
                <c:pt idx="8061">
                  <c:v>0.63626439604825047</c:v>
                </c:pt>
                <c:pt idx="8062">
                  <c:v>0.69950539438289994</c:v>
                </c:pt>
                <c:pt idx="8063">
                  <c:v>0.76386658431130328</c:v>
                </c:pt>
                <c:pt idx="8064">
                  <c:v>0.77275392734792137</c:v>
                </c:pt>
                <c:pt idx="8065">
                  <c:v>0.77676086822088919</c:v>
                </c:pt>
                <c:pt idx="8066">
                  <c:v>0.8059104652296889</c:v>
                </c:pt>
                <c:pt idx="8067">
                  <c:v>0.74881623449830881</c:v>
                </c:pt>
                <c:pt idx="8068">
                  <c:v>0.75927233059548249</c:v>
                </c:pt>
                <c:pt idx="8069">
                  <c:v>0.66039518900343652</c:v>
                </c:pt>
                <c:pt idx="8070">
                  <c:v>0.64745071380013597</c:v>
                </c:pt>
                <c:pt idx="8071">
                  <c:v>0.60212028337436574</c:v>
                </c:pt>
                <c:pt idx="8072">
                  <c:v>0.58324695673134863</c:v>
                </c:pt>
                <c:pt idx="8073">
                  <c:v>0.55128416006767378</c:v>
                </c:pt>
                <c:pt idx="8074">
                  <c:v>0.55467117466131333</c:v>
                </c:pt>
                <c:pt idx="8075">
                  <c:v>0.58997282219997127</c:v>
                </c:pt>
                <c:pt idx="8076">
                  <c:v>0.63370503340545437</c:v>
                </c:pt>
                <c:pt idx="8077">
                  <c:v>0.64504357931435208</c:v>
                </c:pt>
                <c:pt idx="8078">
                  <c:v>0.64956324039727176</c:v>
                </c:pt>
                <c:pt idx="8079">
                  <c:v>0.59413641802951733</c:v>
                </c:pt>
                <c:pt idx="8080">
                  <c:v>0.56256763102554153</c:v>
                </c:pt>
                <c:pt idx="8081">
                  <c:v>0.56237562189054724</c:v>
                </c:pt>
                <c:pt idx="8082">
                  <c:v>0.60501697885858252</c:v>
                </c:pt>
                <c:pt idx="8083">
                  <c:v>0.64965482092387528</c:v>
                </c:pt>
                <c:pt idx="8084">
                  <c:v>0.66844761787516915</c:v>
                </c:pt>
                <c:pt idx="8085">
                  <c:v>0.6602096803276577</c:v>
                </c:pt>
                <c:pt idx="8086">
                  <c:v>0.67296515556997272</c:v>
                </c:pt>
                <c:pt idx="8087">
                  <c:v>0.73761036953354953</c:v>
                </c:pt>
                <c:pt idx="8088">
                  <c:v>0.76461505858133272</c:v>
                </c:pt>
                <c:pt idx="8089">
                  <c:v>0.73980279274865246</c:v>
                </c:pt>
                <c:pt idx="8090">
                  <c:v>0.72231159134367329</c:v>
                </c:pt>
                <c:pt idx="8091">
                  <c:v>0.70521100592762997</c:v>
                </c:pt>
                <c:pt idx="8092">
                  <c:v>0.65512329991342488</c:v>
                </c:pt>
                <c:pt idx="8093">
                  <c:v>0.53402821794962074</c:v>
                </c:pt>
                <c:pt idx="8094">
                  <c:v>0.43194455321481706</c:v>
                </c:pt>
                <c:pt idx="8095">
                  <c:v>0.3984327908378541</c:v>
                </c:pt>
                <c:pt idx="8096">
                  <c:v>0.34960230030994438</c:v>
                </c:pt>
                <c:pt idx="8097">
                  <c:v>0.32278673562519011</c:v>
                </c:pt>
                <c:pt idx="8098">
                  <c:v>0.32879521503845055</c:v>
                </c:pt>
                <c:pt idx="8099">
                  <c:v>0.36615621689299821</c:v>
                </c:pt>
                <c:pt idx="8100">
                  <c:v>0.38698259187620887</c:v>
                </c:pt>
                <c:pt idx="8101">
                  <c:v>0.38936128907008344</c:v>
                </c:pt>
                <c:pt idx="8102">
                  <c:v>0.37859341889568582</c:v>
                </c:pt>
                <c:pt idx="8103">
                  <c:v>0.34196007053068661</c:v>
                </c:pt>
                <c:pt idx="8104">
                  <c:v>0.28766191941601665</c:v>
                </c:pt>
                <c:pt idx="8105">
                  <c:v>0.25566530003727173</c:v>
                </c:pt>
                <c:pt idx="8106">
                  <c:v>0.23848833986617574</c:v>
                </c:pt>
                <c:pt idx="8107">
                  <c:v>0.29037789774531597</c:v>
                </c:pt>
                <c:pt idx="8108">
                  <c:v>0.31137417513822002</c:v>
                </c:pt>
                <c:pt idx="8109">
                  <c:v>0.38892422092852602</c:v>
                </c:pt>
                <c:pt idx="8110">
                  <c:v>0.46383089093502788</c:v>
                </c:pt>
                <c:pt idx="8111">
                  <c:v>0.53107329199333464</c:v>
                </c:pt>
                <c:pt idx="8112">
                  <c:v>0.68067846607669613</c:v>
                </c:pt>
                <c:pt idx="8113">
                  <c:v>0.81815458358298387</c:v>
                </c:pt>
                <c:pt idx="8114">
                  <c:v>0.85193437310107345</c:v>
                </c:pt>
                <c:pt idx="8115">
                  <c:v>0.91410428763479312</c:v>
                </c:pt>
                <c:pt idx="8116">
                  <c:v>0.87411202366176355</c:v>
                </c:pt>
                <c:pt idx="8117">
                  <c:v>0.79707557403724449</c:v>
                </c:pt>
                <c:pt idx="8118">
                  <c:v>0.73610401854106933</c:v>
                </c:pt>
                <c:pt idx="8119">
                  <c:v>0.72179683511995918</c:v>
                </c:pt>
                <c:pt idx="8120">
                  <c:v>0.73811571764436046</c:v>
                </c:pt>
                <c:pt idx="8121">
                  <c:v>0.75448627228983867</c:v>
                </c:pt>
                <c:pt idx="8122">
                  <c:v>0.78968637941829356</c:v>
                </c:pt>
                <c:pt idx="8123">
                  <c:v>0.78560986580703196</c:v>
                </c:pt>
                <c:pt idx="8124">
                  <c:v>0.81451046628584445</c:v>
                </c:pt>
                <c:pt idx="8125">
                  <c:v>0.83119154436924947</c:v>
                </c:pt>
                <c:pt idx="8126">
                  <c:v>0.85969205865916398</c:v>
                </c:pt>
                <c:pt idx="8127">
                  <c:v>0.80589725365844778</c:v>
                </c:pt>
                <c:pt idx="8128">
                  <c:v>0.7951957963217815</c:v>
                </c:pt>
                <c:pt idx="8129">
                  <c:v>0.83244044860506072</c:v>
                </c:pt>
                <c:pt idx="8130">
                  <c:v>0.87889674126423245</c:v>
                </c:pt>
                <c:pt idx="8131">
                  <c:v>0.93414654594232061</c:v>
                </c:pt>
                <c:pt idx="8132">
                  <c:v>0.99400209592187128</c:v>
                </c:pt>
                <c:pt idx="8133">
                  <c:v>1.0195520210813609</c:v>
                </c:pt>
                <c:pt idx="8134">
                  <c:v>1.1530693807950547</c:v>
                </c:pt>
                <c:pt idx="8135">
                  <c:v>1.2004218815918997</c:v>
                </c:pt>
                <c:pt idx="8136">
                  <c:v>1.0856413890857548</c:v>
                </c:pt>
                <c:pt idx="8137">
                  <c:v>1.1155459146782358</c:v>
                </c:pt>
                <c:pt idx="8138">
                  <c:v>1.2422579968222562</c:v>
                </c:pt>
                <c:pt idx="8139">
                  <c:v>1.1910864963609475</c:v>
                </c:pt>
                <c:pt idx="8140">
                  <c:v>1.0183392899068686</c:v>
                </c:pt>
                <c:pt idx="8141">
                  <c:v>0.88877848436671969</c:v>
                </c:pt>
                <c:pt idx="8142">
                  <c:v>0.71926690104316748</c:v>
                </c:pt>
                <c:pt idx="8143">
                  <c:v>0.72270722377788765</c:v>
                </c:pt>
                <c:pt idx="8144">
                  <c:v>0.73691919006993523</c:v>
                </c:pt>
                <c:pt idx="8145">
                  <c:v>0.74222669807758024</c:v>
                </c:pt>
                <c:pt idx="8146">
                  <c:v>0.76695573622402902</c:v>
                </c:pt>
                <c:pt idx="8147">
                  <c:v>0.78010922152177087</c:v>
                </c:pt>
                <c:pt idx="8148">
                  <c:v>0.7753867585600116</c:v>
                </c:pt>
                <c:pt idx="8149">
                  <c:v>0.80358953178387704</c:v>
                </c:pt>
                <c:pt idx="8150">
                  <c:v>0.80014749262536877</c:v>
                </c:pt>
                <c:pt idx="8151">
                  <c:v>0.76661988005614401</c:v>
                </c:pt>
                <c:pt idx="8152">
                  <c:v>0.73793834466919894</c:v>
                </c:pt>
                <c:pt idx="8153">
                  <c:v>0.77266469648855518</c:v>
                </c:pt>
                <c:pt idx="8154">
                  <c:v>0.84857388419180102</c:v>
                </c:pt>
                <c:pt idx="8155">
                  <c:v>0.90909285180040611</c:v>
                </c:pt>
                <c:pt idx="8156">
                  <c:v>0.94704765269619751</c:v>
                </c:pt>
                <c:pt idx="8157">
                  <c:v>1.0098482325515012</c:v>
                </c:pt>
                <c:pt idx="8158">
                  <c:v>1.0647043832823648</c:v>
                </c:pt>
                <c:pt idx="8159">
                  <c:v>1.0944420438587015</c:v>
                </c:pt>
                <c:pt idx="8160">
                  <c:v>1.1166376941625078</c:v>
                </c:pt>
                <c:pt idx="8161">
                  <c:v>1.1543984606105862</c:v>
                </c:pt>
                <c:pt idx="8162">
                  <c:v>1.1913935378893539</c:v>
                </c:pt>
                <c:pt idx="8163">
                  <c:v>1.2440643057383147</c:v>
                </c:pt>
                <c:pt idx="8164">
                  <c:v>1.1780535563082133</c:v>
                </c:pt>
                <c:pt idx="8165">
                  <c:v>1.0555139805428941</c:v>
                </c:pt>
                <c:pt idx="8166">
                  <c:v>0.88513881328252586</c:v>
                </c:pt>
                <c:pt idx="8167">
                  <c:v>0.898523500018785</c:v>
                </c:pt>
                <c:pt idx="8168">
                  <c:v>0.89257483235305135</c:v>
                </c:pt>
                <c:pt idx="8169">
                  <c:v>0.87938073860592292</c:v>
                </c:pt>
                <c:pt idx="8170">
                  <c:v>0.88238121649103352</c:v>
                </c:pt>
                <c:pt idx="8171">
                  <c:v>0.88173796989693798</c:v>
                </c:pt>
                <c:pt idx="8172">
                  <c:v>0.87875599852344044</c:v>
                </c:pt>
                <c:pt idx="8173">
                  <c:v>0.90563681432004395</c:v>
                </c:pt>
                <c:pt idx="8174">
                  <c:v>0.88288509481000221</c:v>
                </c:pt>
                <c:pt idx="8175">
                  <c:v>0.78936201080845803</c:v>
                </c:pt>
                <c:pt idx="8176">
                  <c:v>0.69623965643657693</c:v>
                </c:pt>
                <c:pt idx="8177">
                  <c:v>0.70565708996533527</c:v>
                </c:pt>
                <c:pt idx="8178">
                  <c:v>0.76542537676227518</c:v>
                </c:pt>
                <c:pt idx="8179">
                  <c:v>0.83902870128777052</c:v>
                </c:pt>
                <c:pt idx="8180">
                  <c:v>0.89391024915703021</c:v>
                </c:pt>
                <c:pt idx="8181">
                  <c:v>0.97639089994355421</c:v>
                </c:pt>
                <c:pt idx="8182">
                  <c:v>1.0153826266804551</c:v>
                </c:pt>
                <c:pt idx="8183">
                  <c:v>0.98501325542390317</c:v>
                </c:pt>
                <c:pt idx="8184">
                  <c:v>1.0209610164273919</c:v>
                </c:pt>
                <c:pt idx="8185">
                  <c:v>0.99928374971349987</c:v>
                </c:pt>
                <c:pt idx="8186">
                  <c:v>1.0132595739827197</c:v>
                </c:pt>
                <c:pt idx="8187">
                  <c:v>1.047272938713804</c:v>
                </c:pt>
                <c:pt idx="8188">
                  <c:v>0.98547582917840892</c:v>
                </c:pt>
                <c:pt idx="8189">
                  <c:v>0.81672765771364131</c:v>
                </c:pt>
                <c:pt idx="8190">
                  <c:v>0.71269230001795791</c:v>
                </c:pt>
                <c:pt idx="8191">
                  <c:v>0.67505581102482404</c:v>
                </c:pt>
                <c:pt idx="8192">
                  <c:v>0.68452901998097049</c:v>
                </c:pt>
                <c:pt idx="8193">
                  <c:v>0.69482211108787018</c:v>
                </c:pt>
                <c:pt idx="8194">
                  <c:v>0.73537298173190069</c:v>
                </c:pt>
                <c:pt idx="8195">
                  <c:v>0.77324079733433237</c:v>
                </c:pt>
                <c:pt idx="8196">
                  <c:v>0.79862561067077498</c:v>
                </c:pt>
                <c:pt idx="8197">
                  <c:v>0.78695206839607856</c:v>
                </c:pt>
                <c:pt idx="8198">
                  <c:v>0.7392222013248908</c:v>
                </c:pt>
                <c:pt idx="8199">
                  <c:v>0.64997030291031477</c:v>
                </c:pt>
                <c:pt idx="8200">
                  <c:v>0.64442558007923034</c:v>
                </c:pt>
                <c:pt idx="8201">
                  <c:v>0.68849896439876512</c:v>
                </c:pt>
                <c:pt idx="8202">
                  <c:v>0.77062205959226349</c:v>
                </c:pt>
                <c:pt idx="8203">
                  <c:v>0.80578918157366675</c:v>
                </c:pt>
                <c:pt idx="8204">
                  <c:v>0.87944306090106406</c:v>
                </c:pt>
                <c:pt idx="8205">
                  <c:v>0.96437148728614219</c:v>
                </c:pt>
                <c:pt idx="8206">
                  <c:v>1.0085892489032189</c:v>
                </c:pt>
                <c:pt idx="8207">
                  <c:v>1.0369577625570776</c:v>
                </c:pt>
                <c:pt idx="8208">
                  <c:v>1.0591234637036164</c:v>
                </c:pt>
                <c:pt idx="8209">
                  <c:v>1.1414461761507793</c:v>
                </c:pt>
                <c:pt idx="8210">
                  <c:v>1.130555799712871</c:v>
                </c:pt>
                <c:pt idx="8211">
                  <c:v>1.0292228276455406</c:v>
                </c:pt>
                <c:pt idx="8212">
                  <c:v>1.0624734261175206</c:v>
                </c:pt>
                <c:pt idx="8213">
                  <c:v>1.0406720932790674</c:v>
                </c:pt>
                <c:pt idx="8214">
                  <c:v>0.9434590659127875</c:v>
                </c:pt>
                <c:pt idx="8215">
                  <c:v>0.88864639293937053</c:v>
                </c:pt>
                <c:pt idx="8216">
                  <c:v>0.8537439890084727</c:v>
                </c:pt>
                <c:pt idx="8217">
                  <c:v>0.82967704652041518</c:v>
                </c:pt>
                <c:pt idx="8218">
                  <c:v>0.8231848552338531</c:v>
                </c:pt>
                <c:pt idx="8219">
                  <c:v>0.8587212461510596</c:v>
                </c:pt>
                <c:pt idx="8220">
                  <c:v>0.87522342912140794</c:v>
                </c:pt>
                <c:pt idx="8221">
                  <c:v>0.86209670006434402</c:v>
                </c:pt>
                <c:pt idx="8222">
                  <c:v>0.77650763228147024</c:v>
                </c:pt>
                <c:pt idx="8223">
                  <c:v>0.666631299734748</c:v>
                </c:pt>
                <c:pt idx="8224">
                  <c:v>0.60667338709677421</c:v>
                </c:pt>
                <c:pt idx="8225">
                  <c:v>0.61843638179246074</c:v>
                </c:pt>
                <c:pt idx="8226">
                  <c:v>0.59181384300701612</c:v>
                </c:pt>
                <c:pt idx="8227">
                  <c:v>0.6139626076605279</c:v>
                </c:pt>
                <c:pt idx="8228">
                  <c:v>0.63954060302001869</c:v>
                </c:pt>
                <c:pt idx="8229">
                  <c:v>0.61250588419896446</c:v>
                </c:pt>
                <c:pt idx="8230">
                  <c:v>0.64770076641119634</c:v>
                </c:pt>
                <c:pt idx="8231">
                  <c:v>0.67711498943590631</c:v>
                </c:pt>
                <c:pt idx="8232">
                  <c:v>0.71107048669383832</c:v>
                </c:pt>
                <c:pt idx="8233">
                  <c:v>0.70309202679144878</c:v>
                </c:pt>
                <c:pt idx="8234">
                  <c:v>0.66530313205934433</c:v>
                </c:pt>
                <c:pt idx="8235">
                  <c:v>0.65858535366158455</c:v>
                </c:pt>
                <c:pt idx="8236">
                  <c:v>0.6134190168727538</c:v>
                </c:pt>
                <c:pt idx="8237">
                  <c:v>0.50917245370370368</c:v>
                </c:pt>
                <c:pt idx="8238">
                  <c:v>0.44017701488534255</c:v>
                </c:pt>
                <c:pt idx="8239">
                  <c:v>0.39545341614906826</c:v>
                </c:pt>
                <c:pt idx="8240">
                  <c:v>0.36336442434520444</c:v>
                </c:pt>
                <c:pt idx="8241">
                  <c:v>0.34554484769781058</c:v>
                </c:pt>
                <c:pt idx="8242">
                  <c:v>0.32988295785129562</c:v>
                </c:pt>
                <c:pt idx="8243">
                  <c:v>0.31583845996685661</c:v>
                </c:pt>
                <c:pt idx="8244">
                  <c:v>0.29287731123053101</c:v>
                </c:pt>
                <c:pt idx="8245">
                  <c:v>0.29140399189785843</c:v>
                </c:pt>
                <c:pt idx="8246">
                  <c:v>0.2831245953608823</c:v>
                </c:pt>
                <c:pt idx="8247">
                  <c:v>0.34044298605414269</c:v>
                </c:pt>
                <c:pt idx="8248">
                  <c:v>0.36846579675761165</c:v>
                </c:pt>
                <c:pt idx="8249">
                  <c:v>0.36001211142511103</c:v>
                </c:pt>
                <c:pt idx="8250">
                  <c:v>0.34175264352069862</c:v>
                </c:pt>
                <c:pt idx="8251">
                  <c:v>0.29501994301994305</c:v>
                </c:pt>
                <c:pt idx="8252">
                  <c:v>0.29813965897790395</c:v>
                </c:pt>
                <c:pt idx="8253">
                  <c:v>0.33714136671883149</c:v>
                </c:pt>
                <c:pt idx="8254">
                  <c:v>0.34253333709227257</c:v>
                </c:pt>
                <c:pt idx="8255">
                  <c:v>0.28977814885496178</c:v>
                </c:pt>
                <c:pt idx="8256">
                  <c:v>0.23286534975883999</c:v>
                </c:pt>
                <c:pt idx="8257">
                  <c:v>0.21264814757209072</c:v>
                </c:pt>
                <c:pt idx="8258">
                  <c:v>0.20715805049477481</c:v>
                </c:pt>
                <c:pt idx="8259">
                  <c:v>0.2110493919831857</c:v>
                </c:pt>
                <c:pt idx="8260">
                  <c:v>0.1757775683317625</c:v>
                </c:pt>
                <c:pt idx="8261">
                  <c:v>0.12562617767360632</c:v>
                </c:pt>
                <c:pt idx="8262">
                  <c:v>6.4098817386560689E-2</c:v>
                </c:pt>
                <c:pt idx="8263">
                  <c:v>0.12388479620923258</c:v>
                </c:pt>
                <c:pt idx="8264">
                  <c:v>0.15022545830869308</c:v>
                </c:pt>
                <c:pt idx="8265">
                  <c:v>0.13725954963989423</c:v>
                </c:pt>
                <c:pt idx="8266">
                  <c:v>8.9233646916432846E-2</c:v>
                </c:pt>
                <c:pt idx="8267">
                  <c:v>0.11510577387812769</c:v>
                </c:pt>
                <c:pt idx="8268">
                  <c:v>0.16003413665794694</c:v>
                </c:pt>
                <c:pt idx="8269">
                  <c:v>0.18301684791795794</c:v>
                </c:pt>
                <c:pt idx="8270">
                  <c:v>0.25066782865695392</c:v>
                </c:pt>
                <c:pt idx="8271">
                  <c:v>0.30402005452782199</c:v>
                </c:pt>
                <c:pt idx="8272">
                  <c:v>0.27860383944153577</c:v>
                </c:pt>
                <c:pt idx="8273">
                  <c:v>0.32239634345412999</c:v>
                </c:pt>
                <c:pt idx="8274">
                  <c:v>0.37471088597916469</c:v>
                </c:pt>
                <c:pt idx="8275">
                  <c:v>0.35899221875062193</c:v>
                </c:pt>
                <c:pt idx="8276">
                  <c:v>0.36714337475223263</c:v>
                </c:pt>
                <c:pt idx="8277">
                  <c:v>0.45632203106731256</c:v>
                </c:pt>
                <c:pt idx="8278">
                  <c:v>0.57793898809523814</c:v>
                </c:pt>
                <c:pt idx="8279">
                  <c:v>0.63823620451923346</c:v>
                </c:pt>
                <c:pt idx="8280">
                  <c:v>0.66375394230491014</c:v>
                </c:pt>
                <c:pt idx="8281">
                  <c:v>0.69288964897533245</c:v>
                </c:pt>
                <c:pt idx="8282">
                  <c:v>0.71473508022624954</c:v>
                </c:pt>
                <c:pt idx="8283">
                  <c:v>0.70639821786086898</c:v>
                </c:pt>
                <c:pt idx="8284">
                  <c:v>0.64116561181434606</c:v>
                </c:pt>
                <c:pt idx="8285">
                  <c:v>0.52136980209028239</c:v>
                </c:pt>
                <c:pt idx="8286">
                  <c:v>0.45512919996896095</c:v>
                </c:pt>
                <c:pt idx="8287">
                  <c:v>0.42760126121756009</c:v>
                </c:pt>
                <c:pt idx="8288">
                  <c:v>0.41794838494220682</c:v>
                </c:pt>
                <c:pt idx="8289">
                  <c:v>0.39995940809623964</c:v>
                </c:pt>
                <c:pt idx="8290">
                  <c:v>0.36933137644676467</c:v>
                </c:pt>
                <c:pt idx="8291">
                  <c:v>0.357435848516646</c:v>
                </c:pt>
                <c:pt idx="8292">
                  <c:v>0.32708198469212896</c:v>
                </c:pt>
                <c:pt idx="8293">
                  <c:v>0.32029716309326767</c:v>
                </c:pt>
                <c:pt idx="8294">
                  <c:v>0.32811739748155933</c:v>
                </c:pt>
                <c:pt idx="8295">
                  <c:v>0.31308454486526532</c:v>
                </c:pt>
                <c:pt idx="8296">
                  <c:v>0.30212909168201785</c:v>
                </c:pt>
                <c:pt idx="8297">
                  <c:v>0.32928881901414964</c:v>
                </c:pt>
                <c:pt idx="8298">
                  <c:v>0.38079638079638084</c:v>
                </c:pt>
                <c:pt idx="8299">
                  <c:v>0.46859853349351671</c:v>
                </c:pt>
                <c:pt idx="8300">
                  <c:v>0.5324764890282131</c:v>
                </c:pt>
                <c:pt idx="8301">
                  <c:v>0.68222806687957926</c:v>
                </c:pt>
                <c:pt idx="8302">
                  <c:v>0.71711360312042904</c:v>
                </c:pt>
                <c:pt idx="8303">
                  <c:v>0.82899397574786049</c:v>
                </c:pt>
                <c:pt idx="8304">
                  <c:v>0.8619899251046137</c:v>
                </c:pt>
                <c:pt idx="8305">
                  <c:v>0.83411802471777863</c:v>
                </c:pt>
                <c:pt idx="8306">
                  <c:v>0.89050515736577629</c:v>
                </c:pt>
                <c:pt idx="8307">
                  <c:v>0.89264361840395112</c:v>
                </c:pt>
                <c:pt idx="8308">
                  <c:v>0.84686581782566117</c:v>
                </c:pt>
                <c:pt idx="8309">
                  <c:v>0.78616855494250937</c:v>
                </c:pt>
                <c:pt idx="8310">
                  <c:v>0.69977892679005349</c:v>
                </c:pt>
                <c:pt idx="8311">
                  <c:v>0.72380007441398975</c:v>
                </c:pt>
                <c:pt idx="8312">
                  <c:v>0.72946018679753044</c:v>
                </c:pt>
                <c:pt idx="8313">
                  <c:v>0.7225534288603005</c:v>
                </c:pt>
                <c:pt idx="8314">
                  <c:v>0.7298745585190598</c:v>
                </c:pt>
                <c:pt idx="8315">
                  <c:v>0.74269902536174415</c:v>
                </c:pt>
                <c:pt idx="8316">
                  <c:v>0.71628804490834141</c:v>
                </c:pt>
                <c:pt idx="8317">
                  <c:v>0.71493196551969795</c:v>
                </c:pt>
                <c:pt idx="8318">
                  <c:v>0.6404827287180227</c:v>
                </c:pt>
                <c:pt idx="8319">
                  <c:v>0.55253716957895294</c:v>
                </c:pt>
                <c:pt idx="8320">
                  <c:v>0.50374677673364143</c:v>
                </c:pt>
                <c:pt idx="8321">
                  <c:v>0.52047961108692498</c:v>
                </c:pt>
                <c:pt idx="8322">
                  <c:v>0.52272683481377291</c:v>
                </c:pt>
                <c:pt idx="8323">
                  <c:v>0.54579241326329331</c:v>
                </c:pt>
                <c:pt idx="8324">
                  <c:v>0.56409973277975312</c:v>
                </c:pt>
                <c:pt idx="8325">
                  <c:v>0.5819611048342509</c:v>
                </c:pt>
                <c:pt idx="8326">
                  <c:v>0.63043364407667324</c:v>
                </c:pt>
                <c:pt idx="8327">
                  <c:v>0.65518669907202842</c:v>
                </c:pt>
                <c:pt idx="8328">
                  <c:v>0.62288525722177468</c:v>
                </c:pt>
                <c:pt idx="8329">
                  <c:v>0.590162976809393</c:v>
                </c:pt>
                <c:pt idx="8330">
                  <c:v>0.58195249130938587</c:v>
                </c:pt>
                <c:pt idx="8331">
                  <c:v>0.52785531187695811</c:v>
                </c:pt>
                <c:pt idx="8332">
                  <c:v>0.47326437820734402</c:v>
                </c:pt>
                <c:pt idx="8333">
                  <c:v>0.44926222262517285</c:v>
                </c:pt>
                <c:pt idx="8334">
                  <c:v>0.37926072838281905</c:v>
                </c:pt>
                <c:pt idx="8335">
                  <c:v>0.36667585193349866</c:v>
                </c:pt>
                <c:pt idx="8336">
                  <c:v>0.33404337367096976</c:v>
                </c:pt>
                <c:pt idx="8337">
                  <c:v>0.31024546814020504</c:v>
                </c:pt>
                <c:pt idx="8338">
                  <c:v>0.35973701855024959</c:v>
                </c:pt>
                <c:pt idx="8339">
                  <c:v>0.40345755338027361</c:v>
                </c:pt>
                <c:pt idx="8340">
                  <c:v>0.40843159363235038</c:v>
                </c:pt>
                <c:pt idx="8341">
                  <c:v>0.42603802871556079</c:v>
                </c:pt>
                <c:pt idx="8342">
                  <c:v>0.4287533800995415</c:v>
                </c:pt>
                <c:pt idx="8343">
                  <c:v>0.39034981456287154</c:v>
                </c:pt>
                <c:pt idx="8344">
                  <c:v>0.35182476543826474</c:v>
                </c:pt>
                <c:pt idx="8345">
                  <c:v>0.38513375536042477</c:v>
                </c:pt>
                <c:pt idx="8346">
                  <c:v>0.42177406648810456</c:v>
                </c:pt>
                <c:pt idx="8347">
                  <c:v>0.43943157894736845</c:v>
                </c:pt>
                <c:pt idx="8348">
                  <c:v>0.44983941475599959</c:v>
                </c:pt>
                <c:pt idx="8349">
                  <c:v>0.45760233918128657</c:v>
                </c:pt>
                <c:pt idx="8350">
                  <c:v>0.45012726054922969</c:v>
                </c:pt>
                <c:pt idx="8351">
                  <c:v>0.40336134453781508</c:v>
                </c:pt>
                <c:pt idx="8352">
                  <c:v>0.38111960338772982</c:v>
                </c:pt>
                <c:pt idx="8353">
                  <c:v>0.33682634730538924</c:v>
                </c:pt>
                <c:pt idx="8354">
                  <c:v>0.27189366786140978</c:v>
                </c:pt>
                <c:pt idx="8355">
                  <c:v>0.22423499897902627</c:v>
                </c:pt>
                <c:pt idx="8356">
                  <c:v>0.21934044669013897</c:v>
                </c:pt>
                <c:pt idx="8357">
                  <c:v>0.16831570825579811</c:v>
                </c:pt>
                <c:pt idx="8358">
                  <c:v>0.11898753985485985</c:v>
                </c:pt>
                <c:pt idx="8359">
                  <c:v>9.7267391873201006E-2</c:v>
                </c:pt>
                <c:pt idx="8360">
                  <c:v>9.0610760027753298E-2</c:v>
                </c:pt>
                <c:pt idx="8361">
                  <c:v>9.5757756341018296E-2</c:v>
                </c:pt>
                <c:pt idx="8362">
                  <c:v>9.2470152637146738E-2</c:v>
                </c:pt>
                <c:pt idx="8363">
                  <c:v>8.1645867671297404E-2</c:v>
                </c:pt>
                <c:pt idx="8364">
                  <c:v>7.9389894373960282E-2</c:v>
                </c:pt>
                <c:pt idx="8365">
                  <c:v>7.7293498084055653E-2</c:v>
                </c:pt>
                <c:pt idx="8366">
                  <c:v>9.1835892355951784E-2</c:v>
                </c:pt>
                <c:pt idx="8367">
                  <c:v>0.10234958364283202</c:v>
                </c:pt>
                <c:pt idx="8368">
                  <c:v>0.12891125688004221</c:v>
                </c:pt>
                <c:pt idx="8369">
                  <c:v>0.15896744440536212</c:v>
                </c:pt>
                <c:pt idx="8370">
                  <c:v>0.18564915509452903</c:v>
                </c:pt>
                <c:pt idx="8371">
                  <c:v>0.24745018044876824</c:v>
                </c:pt>
                <c:pt idx="8372">
                  <c:v>0.29424530776752278</c:v>
                </c:pt>
                <c:pt idx="8373">
                  <c:v>0.33041823139050358</c:v>
                </c:pt>
                <c:pt idx="8374">
                  <c:v>0.36601016694908189</c:v>
                </c:pt>
                <c:pt idx="8375">
                  <c:v>0.39413728908720191</c:v>
                </c:pt>
                <c:pt idx="8376">
                  <c:v>0.37565712165254495</c:v>
                </c:pt>
                <c:pt idx="8377">
                  <c:v>0.36170347804011177</c:v>
                </c:pt>
                <c:pt idx="8378">
                  <c:v>0.27512839325018346</c:v>
                </c:pt>
                <c:pt idx="8379">
                  <c:v>0.2579544377389491</c:v>
                </c:pt>
                <c:pt idx="8380">
                  <c:v>0.24490358971214862</c:v>
                </c:pt>
                <c:pt idx="8381">
                  <c:v>0.24549562432076877</c:v>
                </c:pt>
                <c:pt idx="8382">
                  <c:v>0.17451250227196011</c:v>
                </c:pt>
                <c:pt idx="8383">
                  <c:v>0.14540164632415556</c:v>
                </c:pt>
                <c:pt idx="8384">
                  <c:v>0.14478764478764478</c:v>
                </c:pt>
                <c:pt idx="8385">
                  <c:v>0.15497102095407936</c:v>
                </c:pt>
                <c:pt idx="8386">
                  <c:v>0.17440576771431787</c:v>
                </c:pt>
                <c:pt idx="8387">
                  <c:v>0.20028520171121028</c:v>
                </c:pt>
                <c:pt idx="8388">
                  <c:v>0.22017467862411313</c:v>
                </c:pt>
                <c:pt idx="8389">
                  <c:v>0.2242781378903948</c:v>
                </c:pt>
                <c:pt idx="8390">
                  <c:v>0.25015650722251853</c:v>
                </c:pt>
                <c:pt idx="8391">
                  <c:v>0.26981952086321698</c:v>
                </c:pt>
                <c:pt idx="8392">
                  <c:v>0.28191798968347948</c:v>
                </c:pt>
                <c:pt idx="8393">
                  <c:v>0.29653723794763026</c:v>
                </c:pt>
                <c:pt idx="8394">
                  <c:v>0.31020899441952071</c:v>
                </c:pt>
                <c:pt idx="8395">
                  <c:v>0.31185404661362953</c:v>
                </c:pt>
                <c:pt idx="8396">
                  <c:v>0.32722886821247482</c:v>
                </c:pt>
                <c:pt idx="8397">
                  <c:v>0.34270369400052397</c:v>
                </c:pt>
                <c:pt idx="8398">
                  <c:v>0.36345881686951598</c:v>
                </c:pt>
                <c:pt idx="8399">
                  <c:v>0.39473842272809173</c:v>
                </c:pt>
                <c:pt idx="8400">
                  <c:v>0.41629643633613767</c:v>
                </c:pt>
                <c:pt idx="8401">
                  <c:v>0.40855490582496035</c:v>
                </c:pt>
                <c:pt idx="8402">
                  <c:v>0.36231931030012315</c:v>
                </c:pt>
                <c:pt idx="8403">
                  <c:v>0.29332089312142079</c:v>
                </c:pt>
                <c:pt idx="8404">
                  <c:v>0.22298590842042493</c:v>
                </c:pt>
                <c:pt idx="8405">
                  <c:v>0.16028008390699325</c:v>
                </c:pt>
                <c:pt idx="8406">
                  <c:v>8.8182559087204571E-2</c:v>
                </c:pt>
                <c:pt idx="8407">
                  <c:v>4.6841871702578766E-2</c:v>
                </c:pt>
                <c:pt idx="8408">
                  <c:v>3.1342621764801987E-2</c:v>
                </c:pt>
                <c:pt idx="8409">
                  <c:v>2.5774721646667734E-2</c:v>
                </c:pt>
                <c:pt idx="8410">
                  <c:v>2.9369805937365545E-2</c:v>
                </c:pt>
                <c:pt idx="8411">
                  <c:v>5.6192923684089756E-2</c:v>
                </c:pt>
                <c:pt idx="8412">
                  <c:v>9.2644255358720423E-2</c:v>
                </c:pt>
                <c:pt idx="8413">
                  <c:v>0.13746442069898743</c:v>
                </c:pt>
                <c:pt idx="8414">
                  <c:v>0.17861814176552929</c:v>
                </c:pt>
                <c:pt idx="8415">
                  <c:v>0.20710284325124192</c:v>
                </c:pt>
                <c:pt idx="8416">
                  <c:v>0.23247108223736335</c:v>
                </c:pt>
                <c:pt idx="8417">
                  <c:v>0.2918494666934997</c:v>
                </c:pt>
                <c:pt idx="8418">
                  <c:v>0.35065182829888714</c:v>
                </c:pt>
                <c:pt idx="8419">
                  <c:v>0.43804283570551589</c:v>
                </c:pt>
                <c:pt idx="8420">
                  <c:v>0.51728296789444472</c:v>
                </c:pt>
                <c:pt idx="8421">
                  <c:v>0.56965089053168805</c:v>
                </c:pt>
                <c:pt idx="8422">
                  <c:v>0.60222086162751876</c:v>
                </c:pt>
                <c:pt idx="8423">
                  <c:v>0.62055636896046851</c:v>
                </c:pt>
                <c:pt idx="8424">
                  <c:v>0.64794313369630974</c:v>
                </c:pt>
                <c:pt idx="8425">
                  <c:v>0.62915953021776361</c:v>
                </c:pt>
                <c:pt idx="8426">
                  <c:v>0.60261714320737947</c:v>
                </c:pt>
                <c:pt idx="8427">
                  <c:v>0.54812762534632231</c:v>
                </c:pt>
                <c:pt idx="8428">
                  <c:v>0.41334359763920964</c:v>
                </c:pt>
                <c:pt idx="8429">
                  <c:v>0.33187724511064792</c:v>
                </c:pt>
                <c:pt idx="8430">
                  <c:v>0.27526665247101184</c:v>
                </c:pt>
                <c:pt idx="8431">
                  <c:v>0.28142759297310305</c:v>
                </c:pt>
                <c:pt idx="8432">
                  <c:v>0.28959342976582442</c:v>
                </c:pt>
                <c:pt idx="8433">
                  <c:v>0.28113314240893089</c:v>
                </c:pt>
                <c:pt idx="8434">
                  <c:v>0.23007557226826328</c:v>
                </c:pt>
                <c:pt idx="8435">
                  <c:v>0.22001749716136476</c:v>
                </c:pt>
                <c:pt idx="8436">
                  <c:v>0.21112847416006253</c:v>
                </c:pt>
                <c:pt idx="8437">
                  <c:v>0.19403041465948803</c:v>
                </c:pt>
                <c:pt idx="8438">
                  <c:v>0.21276881205197992</c:v>
                </c:pt>
                <c:pt idx="8439">
                  <c:v>0.21046978871544175</c:v>
                </c:pt>
                <c:pt idx="8440">
                  <c:v>0.19390078997936092</c:v>
                </c:pt>
                <c:pt idx="8441">
                  <c:v>0.20025463133810611</c:v>
                </c:pt>
                <c:pt idx="8442">
                  <c:v>0.19407855935202292</c:v>
                </c:pt>
                <c:pt idx="8443">
                  <c:v>0.23914235115533816</c:v>
                </c:pt>
                <c:pt idx="8444">
                  <c:v>0.30199152638375965</c:v>
                </c:pt>
                <c:pt idx="8445">
                  <c:v>0.31008363968320546</c:v>
                </c:pt>
                <c:pt idx="8446">
                  <c:v>0.28904580255931606</c:v>
                </c:pt>
                <c:pt idx="8447">
                  <c:v>0.27075655126382075</c:v>
                </c:pt>
                <c:pt idx="8448">
                  <c:v>0.21794292258083958</c:v>
                </c:pt>
                <c:pt idx="8449">
                  <c:v>0.19997556057921426</c:v>
                </c:pt>
                <c:pt idx="8450">
                  <c:v>0.22010886184331233</c:v>
                </c:pt>
                <c:pt idx="8451">
                  <c:v>0.19178327415938179</c:v>
                </c:pt>
                <c:pt idx="8452">
                  <c:v>0.15088344062457196</c:v>
                </c:pt>
                <c:pt idx="8453">
                  <c:v>9.7581759557807471E-2</c:v>
                </c:pt>
                <c:pt idx="8454">
                  <c:v>7.2549792940248464E-2</c:v>
                </c:pt>
                <c:pt idx="8455">
                  <c:v>4.7340285359334412E-2</c:v>
                </c:pt>
                <c:pt idx="8456">
                  <c:v>3.2033426183844006E-2</c:v>
                </c:pt>
                <c:pt idx="8457">
                  <c:v>2.1174242424242425E-2</c:v>
                </c:pt>
                <c:pt idx="8458">
                  <c:v>2.3695054945054944E-2</c:v>
                </c:pt>
                <c:pt idx="8459">
                  <c:v>2.4219173835542118E-2</c:v>
                </c:pt>
                <c:pt idx="8460">
                  <c:v>2.3907619102884001E-2</c:v>
                </c:pt>
                <c:pt idx="8461">
                  <c:v>2.0419350417979997E-2</c:v>
                </c:pt>
                <c:pt idx="8462">
                  <c:v>2.4402321389664663E-2</c:v>
                </c:pt>
                <c:pt idx="8463">
                  <c:v>3.1181287436500112E-2</c:v>
                </c:pt>
                <c:pt idx="8464">
                  <c:v>3.0690259728523139E-2</c:v>
                </c:pt>
                <c:pt idx="8465">
                  <c:v>4.1075666685354416E-2</c:v>
                </c:pt>
                <c:pt idx="8466">
                  <c:v>4.8847779917032208E-2</c:v>
                </c:pt>
                <c:pt idx="8467">
                  <c:v>5.1928688576966503E-2</c:v>
                </c:pt>
                <c:pt idx="8468">
                  <c:v>5.3831886978224545E-2</c:v>
                </c:pt>
                <c:pt idx="8469">
                  <c:v>6.0334916270932265E-2</c:v>
                </c:pt>
                <c:pt idx="8470">
                  <c:v>8.1751184899043872E-2</c:v>
                </c:pt>
                <c:pt idx="8471">
                  <c:v>0.11970045747253708</c:v>
                </c:pt>
                <c:pt idx="8472">
                  <c:v>0.17906744530848137</c:v>
                </c:pt>
                <c:pt idx="8473">
                  <c:v>0.19718179289885973</c:v>
                </c:pt>
                <c:pt idx="8474">
                  <c:v>0.20339140103780579</c:v>
                </c:pt>
                <c:pt idx="8475">
                  <c:v>0.21275633293124246</c:v>
                </c:pt>
                <c:pt idx="8476">
                  <c:v>0.21493528230305733</c:v>
                </c:pt>
                <c:pt idx="8477">
                  <c:v>0.18455823576432973</c:v>
                </c:pt>
                <c:pt idx="8478">
                  <c:v>0.1735344267619357</c:v>
                </c:pt>
                <c:pt idx="8479">
                  <c:v>0.17363936439702157</c:v>
                </c:pt>
                <c:pt idx="8480">
                  <c:v>0.16192771084337348</c:v>
                </c:pt>
                <c:pt idx="8481">
                  <c:v>0.17984159622267915</c:v>
                </c:pt>
                <c:pt idx="8482">
                  <c:v>0.20774485723058028</c:v>
                </c:pt>
                <c:pt idx="8483">
                  <c:v>0.25189187080667813</c:v>
                </c:pt>
                <c:pt idx="8484">
                  <c:v>0.28692288153807077</c:v>
                </c:pt>
                <c:pt idx="8485">
                  <c:v>0.31368558330698704</c:v>
                </c:pt>
                <c:pt idx="8486">
                  <c:v>0.30256979255413996</c:v>
                </c:pt>
                <c:pt idx="8487">
                  <c:v>0.26990250268693383</c:v>
                </c:pt>
                <c:pt idx="8488">
                  <c:v>0.26365563646419021</c:v>
                </c:pt>
                <c:pt idx="8489">
                  <c:v>0.29099773372183818</c:v>
                </c:pt>
                <c:pt idx="8490">
                  <c:v>0.3623108945070565</c:v>
                </c:pt>
                <c:pt idx="8491">
                  <c:v>0.44673868156230306</c:v>
                </c:pt>
                <c:pt idx="8492">
                  <c:v>0.50954131447704232</c:v>
                </c:pt>
                <c:pt idx="8493">
                  <c:v>0.56017974774038704</c:v>
                </c:pt>
                <c:pt idx="8494">
                  <c:v>0.61084228886513248</c:v>
                </c:pt>
                <c:pt idx="8495">
                  <c:v>0.64139393939393941</c:v>
                </c:pt>
                <c:pt idx="8496">
                  <c:v>0.72739656592536261</c:v>
                </c:pt>
                <c:pt idx="8497">
                  <c:v>0.72869789151778541</c:v>
                </c:pt>
                <c:pt idx="8498">
                  <c:v>0.6631810676940012</c:v>
                </c:pt>
                <c:pt idx="8499">
                  <c:v>0.52699804453415766</c:v>
                </c:pt>
                <c:pt idx="8500">
                  <c:v>0.47314355358231047</c:v>
                </c:pt>
                <c:pt idx="8501">
                  <c:v>0.41995616735206487</c:v>
                </c:pt>
                <c:pt idx="8502">
                  <c:v>0.34632573042708387</c:v>
                </c:pt>
                <c:pt idx="8503">
                  <c:v>0.28495848772465171</c:v>
                </c:pt>
                <c:pt idx="8504">
                  <c:v>0.28996400174057518</c:v>
                </c:pt>
                <c:pt idx="8505">
                  <c:v>0.29591517333124656</c:v>
                </c:pt>
                <c:pt idx="8506">
                  <c:v>0.34575876101299829</c:v>
                </c:pt>
                <c:pt idx="8507">
                  <c:v>0.37602815485168428</c:v>
                </c:pt>
                <c:pt idx="8508">
                  <c:v>0.39840782348662412</c:v>
                </c:pt>
                <c:pt idx="8509">
                  <c:v>0.4475534569148607</c:v>
                </c:pt>
                <c:pt idx="8510">
                  <c:v>0.43933639398998336</c:v>
                </c:pt>
                <c:pt idx="8511">
                  <c:v>0.4087253519728351</c:v>
                </c:pt>
                <c:pt idx="8512">
                  <c:v>0.39696836973701749</c:v>
                </c:pt>
                <c:pt idx="8513">
                  <c:v>0.38848426549402232</c:v>
                </c:pt>
                <c:pt idx="8514">
                  <c:v>0.45238988206859193</c:v>
                </c:pt>
                <c:pt idx="8515">
                  <c:v>0.51742261585256755</c:v>
                </c:pt>
                <c:pt idx="8516">
                  <c:v>0.54009003809303935</c:v>
                </c:pt>
                <c:pt idx="8517">
                  <c:v>0.60302018674038915</c:v>
                </c:pt>
                <c:pt idx="8518">
                  <c:v>0.64065456974284762</c:v>
                </c:pt>
                <c:pt idx="8519">
                  <c:v>0.71636586111960832</c:v>
                </c:pt>
                <c:pt idx="8520">
                  <c:v>0.77290388876400884</c:v>
                </c:pt>
                <c:pt idx="8521">
                  <c:v>0.83319616815353725</c:v>
                </c:pt>
                <c:pt idx="8522">
                  <c:v>0.86357689540132143</c:v>
                </c:pt>
                <c:pt idx="8523">
                  <c:v>0.83683288194997596</c:v>
                </c:pt>
                <c:pt idx="8524">
                  <c:v>0.71955840668357451</c:v>
                </c:pt>
                <c:pt idx="8525">
                  <c:v>0.605457719361298</c:v>
                </c:pt>
                <c:pt idx="8526">
                  <c:v>0.50784468402138661</c:v>
                </c:pt>
                <c:pt idx="8527">
                  <c:v>0.46722174952392537</c:v>
                </c:pt>
                <c:pt idx="8528">
                  <c:v>0.45757988731363014</c:v>
                </c:pt>
                <c:pt idx="8529">
                  <c:v>0.43478609357779774</c:v>
                </c:pt>
                <c:pt idx="8530">
                  <c:v>0.46398830076776215</c:v>
                </c:pt>
                <c:pt idx="8531">
                  <c:v>0.51391410835691065</c:v>
                </c:pt>
                <c:pt idx="8532">
                  <c:v>0.56877964639931</c:v>
                </c:pt>
                <c:pt idx="8533">
                  <c:v>0.60478751542937759</c:v>
                </c:pt>
                <c:pt idx="8534">
                  <c:v>0.59062444875639442</c:v>
                </c:pt>
                <c:pt idx="8535">
                  <c:v>0.53816507645514777</c:v>
                </c:pt>
                <c:pt idx="8536">
                  <c:v>0.47155151804924694</c:v>
                </c:pt>
                <c:pt idx="8537">
                  <c:v>0.45733949666153056</c:v>
                </c:pt>
                <c:pt idx="8538">
                  <c:v>0.46341086298676926</c:v>
                </c:pt>
                <c:pt idx="8539">
                  <c:v>0.4921951335764162</c:v>
                </c:pt>
                <c:pt idx="8540">
                  <c:v>0.57082478558540739</c:v>
                </c:pt>
                <c:pt idx="8541">
                  <c:v>0.75391722002047179</c:v>
                </c:pt>
                <c:pt idx="8542">
                  <c:v>0.96037682789651291</c:v>
                </c:pt>
                <c:pt idx="8543">
                  <c:v>1.1479734708916729</c:v>
                </c:pt>
                <c:pt idx="8544">
                  <c:v>1.2903499469777306</c:v>
                </c:pt>
                <c:pt idx="8545">
                  <c:v>1.2988225988013022</c:v>
                </c:pt>
                <c:pt idx="8546">
                  <c:v>1.3407375851996106</c:v>
                </c:pt>
                <c:pt idx="8547">
                  <c:v>1.3883459452835389</c:v>
                </c:pt>
                <c:pt idx="8548">
                  <c:v>1.2210205951009072</c:v>
                </c:pt>
                <c:pt idx="8549">
                  <c:v>1.170756989970303</c:v>
                </c:pt>
                <c:pt idx="8550">
                  <c:v>1.111900898812743</c:v>
                </c:pt>
                <c:pt idx="8551">
                  <c:v>0.95176101359990706</c:v>
                </c:pt>
                <c:pt idx="8552">
                  <c:v>0.9156557286487681</c:v>
                </c:pt>
                <c:pt idx="8553">
                  <c:v>0.8937518800223454</c:v>
                </c:pt>
                <c:pt idx="8554">
                  <c:v>0.89118492768550717</c:v>
                </c:pt>
                <c:pt idx="8555">
                  <c:v>0.99336911203761191</c:v>
                </c:pt>
                <c:pt idx="8556">
                  <c:v>0.94851790633608812</c:v>
                </c:pt>
                <c:pt idx="8557">
                  <c:v>0.94768642615458987</c:v>
                </c:pt>
                <c:pt idx="8558">
                  <c:v>0.98180706314019262</c:v>
                </c:pt>
                <c:pt idx="8559">
                  <c:v>0.98713772655140741</c:v>
                </c:pt>
                <c:pt idx="8560">
                  <c:v>0.9782179024797768</c:v>
                </c:pt>
                <c:pt idx="8561">
                  <c:v>0.99182042202480791</c:v>
                </c:pt>
                <c:pt idx="8562">
                  <c:v>0.99282583571381855</c:v>
                </c:pt>
                <c:pt idx="8563">
                  <c:v>1.003303358414388</c:v>
                </c:pt>
                <c:pt idx="8564">
                  <c:v>0.91902853440207355</c:v>
                </c:pt>
                <c:pt idx="8565">
                  <c:v>0.97576097772561443</c:v>
                </c:pt>
                <c:pt idx="8566">
                  <c:v>1.0326930026966168</c:v>
                </c:pt>
                <c:pt idx="8567">
                  <c:v>0.92515064111717171</c:v>
                </c:pt>
                <c:pt idx="8568">
                  <c:v>0.89472744584622699</c:v>
                </c:pt>
                <c:pt idx="8569">
                  <c:v>0.90931087578166725</c:v>
                </c:pt>
                <c:pt idx="8570">
                  <c:v>0.85605503119500881</c:v>
                </c:pt>
                <c:pt idx="8571">
                  <c:v>0.80133942945456893</c:v>
                </c:pt>
                <c:pt idx="8572">
                  <c:v>0.83007032883482224</c:v>
                </c:pt>
                <c:pt idx="8573">
                  <c:v>0.85023238747553809</c:v>
                </c:pt>
                <c:pt idx="8574">
                  <c:v>0.81539770310506166</c:v>
                </c:pt>
                <c:pt idx="8575">
                  <c:v>0.82635044730697593</c:v>
                </c:pt>
                <c:pt idx="8576">
                  <c:v>0.80557774892639578</c:v>
                </c:pt>
                <c:pt idx="8577">
                  <c:v>0.82434912814567918</c:v>
                </c:pt>
                <c:pt idx="8578">
                  <c:v>0.85977547129845378</c:v>
                </c:pt>
                <c:pt idx="8579">
                  <c:v>0.88921564122593377</c:v>
                </c:pt>
                <c:pt idx="8580">
                  <c:v>0.95749491811890453</c:v>
                </c:pt>
                <c:pt idx="8581">
                  <c:v>0.99159425352604669</c:v>
                </c:pt>
                <c:pt idx="8582">
                  <c:v>0.98598239847312064</c:v>
                </c:pt>
                <c:pt idx="8583">
                  <c:v>0.96397924158221659</c:v>
                </c:pt>
                <c:pt idx="8584">
                  <c:v>0.9443429741284145</c:v>
                </c:pt>
                <c:pt idx="8585">
                  <c:v>1.0898952427614845</c:v>
                </c:pt>
                <c:pt idx="8586">
                  <c:v>1.0934470158343483</c:v>
                </c:pt>
                <c:pt idx="8587">
                  <c:v>1.0125773248800021</c:v>
                </c:pt>
                <c:pt idx="8588">
                  <c:v>0.98234491613835151</c:v>
                </c:pt>
                <c:pt idx="8589">
                  <c:v>1.0750635768780181</c:v>
                </c:pt>
                <c:pt idx="8590">
                  <c:v>1.0243049432786693</c:v>
                </c:pt>
                <c:pt idx="8591">
                  <c:v>0.95449738647007287</c:v>
                </c:pt>
                <c:pt idx="8592">
                  <c:v>0.83712262392843828</c:v>
                </c:pt>
                <c:pt idx="8593">
                  <c:v>0.95128373930217247</c:v>
                </c:pt>
                <c:pt idx="8594">
                  <c:v>0.91309030384125855</c:v>
                </c:pt>
                <c:pt idx="8595">
                  <c:v>0.96250286800616225</c:v>
                </c:pt>
                <c:pt idx="8596">
                  <c:v>1.041189413058953</c:v>
                </c:pt>
                <c:pt idx="8597">
                  <c:v>0.9342216838279831</c:v>
                </c:pt>
                <c:pt idx="8598">
                  <c:v>1.1526119402985073</c:v>
                </c:pt>
                <c:pt idx="8599">
                  <c:v>1.1725350193492123</c:v>
                </c:pt>
                <c:pt idx="8600">
                  <c:v>1.1640047362189185</c:v>
                </c:pt>
                <c:pt idx="8601">
                  <c:v>1.1420037807183365</c:v>
                </c:pt>
                <c:pt idx="8602">
                  <c:v>1.130980449945967</c:v>
                </c:pt>
                <c:pt idx="8603">
                  <c:v>1.1403487199665543</c:v>
                </c:pt>
                <c:pt idx="8604">
                  <c:v>1.1599127885121419</c:v>
                </c:pt>
                <c:pt idx="8605">
                  <c:v>1.1501275446406241</c:v>
                </c:pt>
                <c:pt idx="8606">
                  <c:v>1.1399704164264046</c:v>
                </c:pt>
                <c:pt idx="8607">
                  <c:v>1.0904907605945986</c:v>
                </c:pt>
                <c:pt idx="8608">
                  <c:v>1.0492900277460422</c:v>
                </c:pt>
                <c:pt idx="8609">
                  <c:v>1.0666938071746732</c:v>
                </c:pt>
                <c:pt idx="8610">
                  <c:v>1.0953783190257538</c:v>
                </c:pt>
                <c:pt idx="8611">
                  <c:v>1.1308241872023193</c:v>
                </c:pt>
                <c:pt idx="8612">
                  <c:v>1.1692265943012212</c:v>
                </c:pt>
                <c:pt idx="8613">
                  <c:v>1.2187544820859986</c:v>
                </c:pt>
                <c:pt idx="8614">
                  <c:v>1.2389873717910715</c:v>
                </c:pt>
                <c:pt idx="8615">
                  <c:v>1.3315297432285331</c:v>
                </c:pt>
                <c:pt idx="8616">
                  <c:v>1.3620341229087296</c:v>
                </c:pt>
                <c:pt idx="8617">
                  <c:v>1.2222074864891748</c:v>
                </c:pt>
                <c:pt idx="8618">
                  <c:v>1.1531184302733006</c:v>
                </c:pt>
                <c:pt idx="8619">
                  <c:v>1.1320164042200169</c:v>
                </c:pt>
                <c:pt idx="8620">
                  <c:v>1.0550630096367681</c:v>
                </c:pt>
                <c:pt idx="8621">
                  <c:v>1.0282506542108669</c:v>
                </c:pt>
                <c:pt idx="8622">
                  <c:v>1.017387104564115</c:v>
                </c:pt>
                <c:pt idx="8623">
                  <c:v>1.0638065173622331</c:v>
                </c:pt>
                <c:pt idx="8624">
                  <c:v>1.07335962710649</c:v>
                </c:pt>
                <c:pt idx="8625">
                  <c:v>0.9930632945939184</c:v>
                </c:pt>
                <c:pt idx="8626">
                  <c:v>0.99718214607754729</c:v>
                </c:pt>
                <c:pt idx="8627">
                  <c:v>1.0298670106302539</c:v>
                </c:pt>
                <c:pt idx="8628">
                  <c:v>1.004382661097035</c:v>
                </c:pt>
                <c:pt idx="8629">
                  <c:v>1.0455831132097524</c:v>
                </c:pt>
                <c:pt idx="8630">
                  <c:v>1.0890620115896033</c:v>
                </c:pt>
                <c:pt idx="8631">
                  <c:v>1.0091238334029811</c:v>
                </c:pt>
                <c:pt idx="8632">
                  <c:v>0.96953779103108151</c:v>
                </c:pt>
                <c:pt idx="8633">
                  <c:v>0.94732327096519897</c:v>
                </c:pt>
                <c:pt idx="8634">
                  <c:v>0.97495497658782559</c:v>
                </c:pt>
                <c:pt idx="8635">
                  <c:v>0.99406187624750497</c:v>
                </c:pt>
                <c:pt idx="8636">
                  <c:v>1.0135362455974346</c:v>
                </c:pt>
                <c:pt idx="8637">
                  <c:v>1.0190031765664971</c:v>
                </c:pt>
                <c:pt idx="8638">
                  <c:v>1.0320865254619198</c:v>
                </c:pt>
                <c:pt idx="8639">
                  <c:v>1.0594272152913633</c:v>
                </c:pt>
                <c:pt idx="8640">
                  <c:v>1.0363325854736631</c:v>
                </c:pt>
                <c:pt idx="8641">
                  <c:v>0.92424970812444207</c:v>
                </c:pt>
                <c:pt idx="8642">
                  <c:v>0.78427579536426129</c:v>
                </c:pt>
                <c:pt idx="8643">
                  <c:v>0.6169734916799946</c:v>
                </c:pt>
                <c:pt idx="8644">
                  <c:v>0.55003569342591996</c:v>
                </c:pt>
                <c:pt idx="8645">
                  <c:v>0.48389651531151007</c:v>
                </c:pt>
                <c:pt idx="8646">
                  <c:v>0.43629772709231868</c:v>
                </c:pt>
                <c:pt idx="8647">
                  <c:v>0.385143464913341</c:v>
                </c:pt>
                <c:pt idx="8648">
                  <c:v>0.33162042584570001</c:v>
                </c:pt>
                <c:pt idx="8649">
                  <c:v>0.31750011092869507</c:v>
                </c:pt>
                <c:pt idx="8650">
                  <c:v>0.29671369769540618</c:v>
                </c:pt>
                <c:pt idx="8651">
                  <c:v>0.29462738301559788</c:v>
                </c:pt>
                <c:pt idx="8652">
                  <c:v>0.30420217190907661</c:v>
                </c:pt>
                <c:pt idx="8653">
                  <c:v>0.30234077545227206</c:v>
                </c:pt>
                <c:pt idx="8654">
                  <c:v>0.3188428390085295</c:v>
                </c:pt>
                <c:pt idx="8655">
                  <c:v>0.28359100117283292</c:v>
                </c:pt>
                <c:pt idx="8656">
                  <c:v>0.23719390049466502</c:v>
                </c:pt>
                <c:pt idx="8657">
                  <c:v>0.22618346926763644</c:v>
                </c:pt>
                <c:pt idx="8658">
                  <c:v>0.24436174006061687</c:v>
                </c:pt>
                <c:pt idx="8659">
                  <c:v>0.23889604503601927</c:v>
                </c:pt>
                <c:pt idx="8660">
                  <c:v>0.22929806714140388</c:v>
                </c:pt>
                <c:pt idx="8661">
                  <c:v>0.2411197494574325</c:v>
                </c:pt>
                <c:pt idx="8662">
                  <c:v>0.25968807667123039</c:v>
                </c:pt>
                <c:pt idx="8663">
                  <c:v>0.25252266393311334</c:v>
                </c:pt>
                <c:pt idx="8664">
                  <c:v>0.22617392778437023</c:v>
                </c:pt>
                <c:pt idx="8665">
                  <c:v>0.22051549982584467</c:v>
                </c:pt>
                <c:pt idx="8666">
                  <c:v>0.20795117698343504</c:v>
                </c:pt>
                <c:pt idx="8667">
                  <c:v>0.18194881620364031</c:v>
                </c:pt>
                <c:pt idx="8668">
                  <c:v>0.23298488624227323</c:v>
                </c:pt>
                <c:pt idx="8669">
                  <c:v>0.24591683076566664</c:v>
                </c:pt>
                <c:pt idx="8670">
                  <c:v>0.2187460029162723</c:v>
                </c:pt>
                <c:pt idx="8671">
                  <c:v>0.21531920890684458</c:v>
                </c:pt>
                <c:pt idx="8672">
                  <c:v>0.23088388058353282</c:v>
                </c:pt>
                <c:pt idx="8673">
                  <c:v>0.21513830162085978</c:v>
                </c:pt>
                <c:pt idx="8674">
                  <c:v>0.19599168252001944</c:v>
                </c:pt>
                <c:pt idx="8675">
                  <c:v>0.19081224434755251</c:v>
                </c:pt>
                <c:pt idx="8676">
                  <c:v>0.19847823654470179</c:v>
                </c:pt>
                <c:pt idx="8677">
                  <c:v>0.21723292629842611</c:v>
                </c:pt>
                <c:pt idx="8678">
                  <c:v>0.24189019518319824</c:v>
                </c:pt>
                <c:pt idx="8679">
                  <c:v>0.27563881958186354</c:v>
                </c:pt>
                <c:pt idx="8680">
                  <c:v>0.34407946858431349</c:v>
                </c:pt>
                <c:pt idx="8681">
                  <c:v>0.41159529176058096</c:v>
                </c:pt>
                <c:pt idx="8682">
                  <c:v>0.46058877275867449</c:v>
                </c:pt>
                <c:pt idx="8683">
                  <c:v>0.51506238436358465</c:v>
                </c:pt>
                <c:pt idx="8684">
                  <c:v>0.56319413035830945</c:v>
                </c:pt>
                <c:pt idx="8685">
                  <c:v>0.61529526176454685</c:v>
                </c:pt>
                <c:pt idx="8686">
                  <c:v>0.71051869862220673</c:v>
                </c:pt>
                <c:pt idx="8687">
                  <c:v>0.79310661483363443</c:v>
                </c:pt>
                <c:pt idx="8688">
                  <c:v>0.8263772954924874</c:v>
                </c:pt>
                <c:pt idx="8689">
                  <c:v>0.86332678454485912</c:v>
                </c:pt>
                <c:pt idx="8690">
                  <c:v>0.88188482366926435</c:v>
                </c:pt>
                <c:pt idx="8691">
                  <c:v>0.85096169439849501</c:v>
                </c:pt>
                <c:pt idx="8692">
                  <c:v>0.81345594154436807</c:v>
                </c:pt>
                <c:pt idx="8693">
                  <c:v>0.70441001191895103</c:v>
                </c:pt>
                <c:pt idx="8694">
                  <c:v>0.60171795979567455</c:v>
                </c:pt>
                <c:pt idx="8695">
                  <c:v>0.53498253233877824</c:v>
                </c:pt>
                <c:pt idx="8696">
                  <c:v>0.49781897491821148</c:v>
                </c:pt>
                <c:pt idx="8697">
                  <c:v>0.49162854731980288</c:v>
                </c:pt>
                <c:pt idx="8698">
                  <c:v>0.42166707668910608</c:v>
                </c:pt>
                <c:pt idx="8699">
                  <c:v>0.42678992288858897</c:v>
                </c:pt>
                <c:pt idx="8700">
                  <c:v>0.40115794349235756</c:v>
                </c:pt>
                <c:pt idx="8701">
                  <c:v>0.34838603348009328</c:v>
                </c:pt>
                <c:pt idx="8702">
                  <c:v>0.36664169320097401</c:v>
                </c:pt>
                <c:pt idx="8703">
                  <c:v>0.34342464258430649</c:v>
                </c:pt>
                <c:pt idx="8704">
                  <c:v>0.27388443050770528</c:v>
                </c:pt>
                <c:pt idx="8705">
                  <c:v>0.31874921195309547</c:v>
                </c:pt>
                <c:pt idx="8706">
                  <c:v>0.37090426608496191</c:v>
                </c:pt>
                <c:pt idx="8707">
                  <c:v>0.43394954746774511</c:v>
                </c:pt>
                <c:pt idx="8708">
                  <c:v>0.43647299718454058</c:v>
                </c:pt>
                <c:pt idx="8709">
                  <c:v>0.44307240385138447</c:v>
                </c:pt>
                <c:pt idx="8710">
                  <c:v>0.41961577350859453</c:v>
                </c:pt>
                <c:pt idx="8711">
                  <c:v>0.46281806419813942</c:v>
                </c:pt>
                <c:pt idx="8712">
                  <c:v>0.48611469072164942</c:v>
                </c:pt>
                <c:pt idx="8713">
                  <c:v>0.54183976261127598</c:v>
                </c:pt>
                <c:pt idx="8714">
                  <c:v>0.58281738898874913</c:v>
                </c:pt>
                <c:pt idx="8715">
                  <c:v>0.61563077329110583</c:v>
                </c:pt>
                <c:pt idx="8716">
                  <c:v>0.63070605973117755</c:v>
                </c:pt>
                <c:pt idx="8717">
                  <c:v>0.61170391659277834</c:v>
                </c:pt>
                <c:pt idx="8718">
                  <c:v>0.55407634977527442</c:v>
                </c:pt>
                <c:pt idx="8719">
                  <c:v>0.49764730485700842</c:v>
                </c:pt>
                <c:pt idx="8720">
                  <c:v>0.44354996574336891</c:v>
                </c:pt>
                <c:pt idx="8721">
                  <c:v>0.41522320799887336</c:v>
                </c:pt>
                <c:pt idx="8722">
                  <c:v>0.42120964922503201</c:v>
                </c:pt>
                <c:pt idx="8723">
                  <c:v>0.44381196780590226</c:v>
                </c:pt>
                <c:pt idx="8724">
                  <c:v>0.42602432400519541</c:v>
                </c:pt>
                <c:pt idx="8725">
                  <c:v>0.34311576941400668</c:v>
                </c:pt>
                <c:pt idx="8726">
                  <c:v>0.29097266520188059</c:v>
                </c:pt>
                <c:pt idx="8727">
                  <c:v>0.24611566922268674</c:v>
                </c:pt>
                <c:pt idx="8728">
                  <c:v>0.2056157139259632</c:v>
                </c:pt>
                <c:pt idx="8729">
                  <c:v>0.16056738190145026</c:v>
                </c:pt>
                <c:pt idx="8730">
                  <c:v>0.10770482908301682</c:v>
                </c:pt>
                <c:pt idx="8731">
                  <c:v>9.0806447738246809E-2</c:v>
                </c:pt>
                <c:pt idx="8732">
                  <c:v>0.11810902765342404</c:v>
                </c:pt>
                <c:pt idx="8733">
                  <c:v>0.14561656116710589</c:v>
                </c:pt>
                <c:pt idx="8734">
                  <c:v>0.17884750527055515</c:v>
                </c:pt>
                <c:pt idx="8735">
                  <c:v>0.22760797449193215</c:v>
                </c:pt>
                <c:pt idx="8736">
                  <c:v>0.23277129860802354</c:v>
                </c:pt>
                <c:pt idx="8737">
                  <c:v>0.20068514699199499</c:v>
                </c:pt>
                <c:pt idx="8738">
                  <c:v>0.16615493206281984</c:v>
                </c:pt>
                <c:pt idx="8739">
                  <c:v>0.15729039033782602</c:v>
                </c:pt>
                <c:pt idx="8740">
                  <c:v>0.19962418858899897</c:v>
                </c:pt>
                <c:pt idx="8741">
                  <c:v>0.27978650698083124</c:v>
                </c:pt>
                <c:pt idx="8742">
                  <c:v>0.37022553655874862</c:v>
                </c:pt>
                <c:pt idx="8743">
                  <c:v>0.3602651983368918</c:v>
                </c:pt>
                <c:pt idx="8744">
                  <c:v>0.35359216727859799</c:v>
                </c:pt>
                <c:pt idx="8745">
                  <c:v>0.45479038955902701</c:v>
                </c:pt>
                <c:pt idx="8746">
                  <c:v>0.55065035539867502</c:v>
                </c:pt>
                <c:pt idx="8747">
                  <c:v>0.64026394778217155</c:v>
                </c:pt>
                <c:pt idx="8748">
                  <c:v>0.73934647327449554</c:v>
                </c:pt>
                <c:pt idx="8749">
                  <c:v>0.76963240458908921</c:v>
                </c:pt>
                <c:pt idx="8750">
                  <c:v>0.7443792992013295</c:v>
                </c:pt>
                <c:pt idx="8751">
                  <c:v>0.67585601404740991</c:v>
                </c:pt>
                <c:pt idx="8752">
                  <c:v>0.62436235334126855</c:v>
                </c:pt>
                <c:pt idx="8753">
                  <c:v>0.57192718918441277</c:v>
                </c:pt>
                <c:pt idx="8754">
                  <c:v>0.59034587053026988</c:v>
                </c:pt>
                <c:pt idx="8755">
                  <c:v>0.57844985598324161</c:v>
                </c:pt>
                <c:pt idx="8756">
                  <c:v>0.58973799721911713</c:v>
                </c:pt>
                <c:pt idx="8757">
                  <c:v>0.60734111249575162</c:v>
                </c:pt>
                <c:pt idx="8758">
                  <c:v>0.63804669420277116</c:v>
                </c:pt>
              </c:numCache>
            </c:numRef>
          </c:xVal>
          <c:yVal>
            <c:numRef>
              <c:f>Data!$F$5:$F$8763</c:f>
              <c:numCache>
                <c:formatCode>0.0</c:formatCode>
                <c:ptCount val="8759"/>
                <c:pt idx="0">
                  <c:v>20.96</c:v>
                </c:pt>
                <c:pt idx="1">
                  <c:v>20.9</c:v>
                </c:pt>
                <c:pt idx="2">
                  <c:v>18.13</c:v>
                </c:pt>
                <c:pt idx="3">
                  <c:v>16.03</c:v>
                </c:pt>
                <c:pt idx="4">
                  <c:v>16.43</c:v>
                </c:pt>
                <c:pt idx="5">
                  <c:v>13.75</c:v>
                </c:pt>
                <c:pt idx="6">
                  <c:v>11.1</c:v>
                </c:pt>
                <c:pt idx="7">
                  <c:v>15.47</c:v>
                </c:pt>
                <c:pt idx="8">
                  <c:v>16.88</c:v>
                </c:pt>
                <c:pt idx="9">
                  <c:v>21.81</c:v>
                </c:pt>
                <c:pt idx="10">
                  <c:v>26.240000000000002</c:v>
                </c:pt>
                <c:pt idx="11">
                  <c:v>27.48</c:v>
                </c:pt>
                <c:pt idx="12">
                  <c:v>28.039999999999996</c:v>
                </c:pt>
                <c:pt idx="13">
                  <c:v>28.7</c:v>
                </c:pt>
                <c:pt idx="14">
                  <c:v>29.66</c:v>
                </c:pt>
                <c:pt idx="15">
                  <c:v>30.38</c:v>
                </c:pt>
                <c:pt idx="16">
                  <c:v>30.8</c:v>
                </c:pt>
                <c:pt idx="17">
                  <c:v>30.930000000000003</c:v>
                </c:pt>
                <c:pt idx="18">
                  <c:v>30.780000000000005</c:v>
                </c:pt>
                <c:pt idx="19">
                  <c:v>30.510000000000005</c:v>
                </c:pt>
                <c:pt idx="20">
                  <c:v>30.190000000000005</c:v>
                </c:pt>
                <c:pt idx="21">
                  <c:v>29.939999999999998</c:v>
                </c:pt>
                <c:pt idx="22">
                  <c:v>29.650000000000006</c:v>
                </c:pt>
                <c:pt idx="23">
                  <c:v>29.36</c:v>
                </c:pt>
                <c:pt idx="24">
                  <c:v>29.400000000000002</c:v>
                </c:pt>
                <c:pt idx="25">
                  <c:v>28.909999999999997</c:v>
                </c:pt>
                <c:pt idx="26">
                  <c:v>28.110000000000003</c:v>
                </c:pt>
                <c:pt idx="27">
                  <c:v>27.89</c:v>
                </c:pt>
                <c:pt idx="28">
                  <c:v>27.851624201178517</c:v>
                </c:pt>
                <c:pt idx="29">
                  <c:v>30.43</c:v>
                </c:pt>
                <c:pt idx="30">
                  <c:v>32.85</c:v>
                </c:pt>
                <c:pt idx="31">
                  <c:v>33.909999999999997</c:v>
                </c:pt>
                <c:pt idx="32">
                  <c:v>34.869999999999997</c:v>
                </c:pt>
                <c:pt idx="33">
                  <c:v>35.22</c:v>
                </c:pt>
                <c:pt idx="34">
                  <c:v>35.409999999999997</c:v>
                </c:pt>
                <c:pt idx="35">
                  <c:v>35.069999999999993</c:v>
                </c:pt>
                <c:pt idx="36">
                  <c:v>34.850000000000009</c:v>
                </c:pt>
                <c:pt idx="37">
                  <c:v>34.700000000000003</c:v>
                </c:pt>
                <c:pt idx="38">
                  <c:v>34.799999999999997</c:v>
                </c:pt>
                <c:pt idx="39">
                  <c:v>35.93</c:v>
                </c:pt>
                <c:pt idx="40">
                  <c:v>37.52000000000001</c:v>
                </c:pt>
                <c:pt idx="41">
                  <c:v>39.070666801170184</c:v>
                </c:pt>
                <c:pt idx="42">
                  <c:v>37.253841732132599</c:v>
                </c:pt>
                <c:pt idx="43">
                  <c:v>35.520000000000003</c:v>
                </c:pt>
                <c:pt idx="44">
                  <c:v>35.229999999999997</c:v>
                </c:pt>
                <c:pt idx="45">
                  <c:v>34.740000000000009</c:v>
                </c:pt>
                <c:pt idx="46">
                  <c:v>32.99</c:v>
                </c:pt>
                <c:pt idx="47">
                  <c:v>30.896472382243306</c:v>
                </c:pt>
                <c:pt idx="48">
                  <c:v>30.649999999999995</c:v>
                </c:pt>
                <c:pt idx="49">
                  <c:v>30.37</c:v>
                </c:pt>
                <c:pt idx="50">
                  <c:v>30.149999999999995</c:v>
                </c:pt>
                <c:pt idx="51">
                  <c:v>30.14</c:v>
                </c:pt>
                <c:pt idx="52">
                  <c:v>30.4</c:v>
                </c:pt>
                <c:pt idx="53">
                  <c:v>31.020757660450222</c:v>
                </c:pt>
                <c:pt idx="54">
                  <c:v>31.553765902104519</c:v>
                </c:pt>
                <c:pt idx="55">
                  <c:v>32.585705103809886</c:v>
                </c:pt>
                <c:pt idx="56">
                  <c:v>33.03114615567722</c:v>
                </c:pt>
                <c:pt idx="57">
                  <c:v>33.714958875321571</c:v>
                </c:pt>
                <c:pt idx="58">
                  <c:v>32.152599846880179</c:v>
                </c:pt>
                <c:pt idx="59">
                  <c:v>31.638959840224551</c:v>
                </c:pt>
                <c:pt idx="60">
                  <c:v>31.336454374969158</c:v>
                </c:pt>
                <c:pt idx="61">
                  <c:v>30.972847457627122</c:v>
                </c:pt>
                <c:pt idx="62">
                  <c:v>30.916276061377559</c:v>
                </c:pt>
                <c:pt idx="63">
                  <c:v>30.696882441944606</c:v>
                </c:pt>
                <c:pt idx="64">
                  <c:v>30.834982880073277</c:v>
                </c:pt>
                <c:pt idx="65">
                  <c:v>30.856114809536979</c:v>
                </c:pt>
                <c:pt idx="66">
                  <c:v>30.664695288494368</c:v>
                </c:pt>
                <c:pt idx="67">
                  <c:v>30.260552798665135</c:v>
                </c:pt>
                <c:pt idx="68">
                  <c:v>29.899799319431114</c:v>
                </c:pt>
                <c:pt idx="69">
                  <c:v>24.940580662832101</c:v>
                </c:pt>
                <c:pt idx="70">
                  <c:v>17.769999999999996</c:v>
                </c:pt>
                <c:pt idx="71">
                  <c:v>2.259832531370884</c:v>
                </c:pt>
                <c:pt idx="72">
                  <c:v>0.10999999999999999</c:v>
                </c:pt>
                <c:pt idx="73">
                  <c:v>-0.05</c:v>
                </c:pt>
                <c:pt idx="74">
                  <c:v>-6.2700000000000005</c:v>
                </c:pt>
                <c:pt idx="75">
                  <c:v>-5.09</c:v>
                </c:pt>
                <c:pt idx="76">
                  <c:v>5.9999999999999991E-2</c:v>
                </c:pt>
                <c:pt idx="77">
                  <c:v>10.55</c:v>
                </c:pt>
                <c:pt idx="78">
                  <c:v>11.332283732628746</c:v>
                </c:pt>
                <c:pt idx="79">
                  <c:v>30.65</c:v>
                </c:pt>
                <c:pt idx="80">
                  <c:v>30.833427036881915</c:v>
                </c:pt>
                <c:pt idx="81">
                  <c:v>31.108643881201996</c:v>
                </c:pt>
                <c:pt idx="82">
                  <c:v>31.286316569559443</c:v>
                </c:pt>
                <c:pt idx="83">
                  <c:v>31.404150074985779</c:v>
                </c:pt>
                <c:pt idx="84">
                  <c:v>31.468427762039656</c:v>
                </c:pt>
                <c:pt idx="85">
                  <c:v>31.411121738012596</c:v>
                </c:pt>
                <c:pt idx="86">
                  <c:v>31.508743558282212</c:v>
                </c:pt>
                <c:pt idx="87">
                  <c:v>31.777790928171644</c:v>
                </c:pt>
                <c:pt idx="88">
                  <c:v>32.171355580582059</c:v>
                </c:pt>
                <c:pt idx="89">
                  <c:v>32.379749463135283</c:v>
                </c:pt>
                <c:pt idx="90">
                  <c:v>32.066214580467673</c:v>
                </c:pt>
                <c:pt idx="91">
                  <c:v>31.78494047811078</c:v>
                </c:pt>
                <c:pt idx="92">
                  <c:v>31.66109784106569</c:v>
                </c:pt>
                <c:pt idx="93">
                  <c:v>31.471821993670886</c:v>
                </c:pt>
                <c:pt idx="94">
                  <c:v>31.250953974177495</c:v>
                </c:pt>
                <c:pt idx="95">
                  <c:v>30.440000000000005</c:v>
                </c:pt>
                <c:pt idx="96">
                  <c:v>30.51</c:v>
                </c:pt>
                <c:pt idx="97">
                  <c:v>30.230000000000004</c:v>
                </c:pt>
                <c:pt idx="98">
                  <c:v>30</c:v>
                </c:pt>
                <c:pt idx="99">
                  <c:v>30.06</c:v>
                </c:pt>
                <c:pt idx="100">
                  <c:v>30.61</c:v>
                </c:pt>
                <c:pt idx="101">
                  <c:v>29.834413559645277</c:v>
                </c:pt>
                <c:pt idx="102">
                  <c:v>34.0651734679698</c:v>
                </c:pt>
                <c:pt idx="103">
                  <c:v>38.356618434651885</c:v>
                </c:pt>
                <c:pt idx="104">
                  <c:v>40.009880478087645</c:v>
                </c:pt>
                <c:pt idx="105">
                  <c:v>39.775871149776627</c:v>
                </c:pt>
                <c:pt idx="106">
                  <c:v>43.040000000000006</c:v>
                </c:pt>
                <c:pt idx="107">
                  <c:v>44.539999999999992</c:v>
                </c:pt>
                <c:pt idx="108">
                  <c:v>44.56</c:v>
                </c:pt>
                <c:pt idx="109">
                  <c:v>44.66</c:v>
                </c:pt>
                <c:pt idx="110">
                  <c:v>44.99</c:v>
                </c:pt>
                <c:pt idx="111">
                  <c:v>56.100000000000009</c:v>
                </c:pt>
                <c:pt idx="112">
                  <c:v>69.7</c:v>
                </c:pt>
                <c:pt idx="113">
                  <c:v>73.92</c:v>
                </c:pt>
                <c:pt idx="114">
                  <c:v>71.989999999999995</c:v>
                </c:pt>
                <c:pt idx="115">
                  <c:v>50.080000000000005</c:v>
                </c:pt>
                <c:pt idx="116">
                  <c:v>44.89</c:v>
                </c:pt>
                <c:pt idx="117">
                  <c:v>42.05</c:v>
                </c:pt>
                <c:pt idx="118">
                  <c:v>37.22</c:v>
                </c:pt>
                <c:pt idx="119">
                  <c:v>34.178709853021239</c:v>
                </c:pt>
                <c:pt idx="120">
                  <c:v>35.840000000000003</c:v>
                </c:pt>
                <c:pt idx="121">
                  <c:v>35.54</c:v>
                </c:pt>
                <c:pt idx="122">
                  <c:v>34.590000000000003</c:v>
                </c:pt>
                <c:pt idx="123">
                  <c:v>34.28</c:v>
                </c:pt>
                <c:pt idx="124">
                  <c:v>34.159999999999997</c:v>
                </c:pt>
                <c:pt idx="125">
                  <c:v>32.590000000000003</c:v>
                </c:pt>
                <c:pt idx="126">
                  <c:v>34.32</c:v>
                </c:pt>
                <c:pt idx="127">
                  <c:v>34.047690914900414</c:v>
                </c:pt>
                <c:pt idx="128">
                  <c:v>34.059138076728068</c:v>
                </c:pt>
                <c:pt idx="129">
                  <c:v>32.528000271517783</c:v>
                </c:pt>
                <c:pt idx="130">
                  <c:v>32.012311860732915</c:v>
                </c:pt>
                <c:pt idx="131">
                  <c:v>31.499650085114428</c:v>
                </c:pt>
                <c:pt idx="132">
                  <c:v>31.323246314841903</c:v>
                </c:pt>
                <c:pt idx="133">
                  <c:v>30.981454545454543</c:v>
                </c:pt>
                <c:pt idx="134">
                  <c:v>30.870868861305993</c:v>
                </c:pt>
                <c:pt idx="135">
                  <c:v>30.749949341877382</c:v>
                </c:pt>
                <c:pt idx="136">
                  <c:v>31.87373528567327</c:v>
                </c:pt>
                <c:pt idx="137">
                  <c:v>32.416483112506697</c:v>
                </c:pt>
                <c:pt idx="138">
                  <c:v>31.432929341943193</c:v>
                </c:pt>
                <c:pt idx="139">
                  <c:v>30.803718427410502</c:v>
                </c:pt>
                <c:pt idx="140">
                  <c:v>30.463944049045171</c:v>
                </c:pt>
                <c:pt idx="141">
                  <c:v>30.246958536020383</c:v>
                </c:pt>
                <c:pt idx="142">
                  <c:v>29.857828061335574</c:v>
                </c:pt>
                <c:pt idx="143">
                  <c:v>29.01</c:v>
                </c:pt>
                <c:pt idx="144">
                  <c:v>29.35</c:v>
                </c:pt>
                <c:pt idx="145">
                  <c:v>27.580334816202292</c:v>
                </c:pt>
                <c:pt idx="146">
                  <c:v>27.189741364142868</c:v>
                </c:pt>
                <c:pt idx="147">
                  <c:v>27.079917847607312</c:v>
                </c:pt>
                <c:pt idx="148">
                  <c:v>27.556797178552216</c:v>
                </c:pt>
                <c:pt idx="149">
                  <c:v>28.639999999999997</c:v>
                </c:pt>
                <c:pt idx="150">
                  <c:v>29.1</c:v>
                </c:pt>
                <c:pt idx="151">
                  <c:v>29.49</c:v>
                </c:pt>
                <c:pt idx="152">
                  <c:v>29.97</c:v>
                </c:pt>
                <c:pt idx="153">
                  <c:v>30.566617647058823</c:v>
                </c:pt>
                <c:pt idx="154">
                  <c:v>30.892310374891021</c:v>
                </c:pt>
                <c:pt idx="155">
                  <c:v>31.049149925595238</c:v>
                </c:pt>
                <c:pt idx="156">
                  <c:v>30.934597985173923</c:v>
                </c:pt>
                <c:pt idx="157">
                  <c:v>30.863492191030986</c:v>
                </c:pt>
                <c:pt idx="158">
                  <c:v>31.054353144111651</c:v>
                </c:pt>
                <c:pt idx="159">
                  <c:v>31.445762249927512</c:v>
                </c:pt>
                <c:pt idx="160">
                  <c:v>32.139910691502934</c:v>
                </c:pt>
                <c:pt idx="161">
                  <c:v>32.439743554860215</c:v>
                </c:pt>
                <c:pt idx="162">
                  <c:v>32.016545965013322</c:v>
                </c:pt>
                <c:pt idx="163">
                  <c:v>31.503403335392218</c:v>
                </c:pt>
                <c:pt idx="164">
                  <c:v>31.320492161866571</c:v>
                </c:pt>
                <c:pt idx="165">
                  <c:v>31.264506364922209</c:v>
                </c:pt>
                <c:pt idx="166">
                  <c:v>31.094394229097858</c:v>
                </c:pt>
                <c:pt idx="167">
                  <c:v>30.6</c:v>
                </c:pt>
                <c:pt idx="168">
                  <c:v>30.75</c:v>
                </c:pt>
                <c:pt idx="169">
                  <c:v>30.64</c:v>
                </c:pt>
                <c:pt idx="170">
                  <c:v>30.529999999999998</c:v>
                </c:pt>
                <c:pt idx="171">
                  <c:v>30.54</c:v>
                </c:pt>
                <c:pt idx="172">
                  <c:v>30.629999999999995</c:v>
                </c:pt>
                <c:pt idx="173">
                  <c:v>30.7</c:v>
                </c:pt>
                <c:pt idx="174">
                  <c:v>30.77</c:v>
                </c:pt>
                <c:pt idx="175">
                  <c:v>30.58</c:v>
                </c:pt>
                <c:pt idx="176">
                  <c:v>30.75</c:v>
                </c:pt>
                <c:pt idx="177">
                  <c:v>31.09</c:v>
                </c:pt>
                <c:pt idx="178">
                  <c:v>35.049999999999997</c:v>
                </c:pt>
                <c:pt idx="179">
                  <c:v>27.887693376563224</c:v>
                </c:pt>
                <c:pt idx="180">
                  <c:v>30.969429280397026</c:v>
                </c:pt>
                <c:pt idx="181">
                  <c:v>30.887296669248649</c:v>
                </c:pt>
                <c:pt idx="182">
                  <c:v>30.872295698924734</c:v>
                </c:pt>
                <c:pt idx="183">
                  <c:v>31.000489208633095</c:v>
                </c:pt>
                <c:pt idx="184">
                  <c:v>31.655005571030642</c:v>
                </c:pt>
                <c:pt idx="185">
                  <c:v>31.904740623477839</c:v>
                </c:pt>
                <c:pt idx="186">
                  <c:v>31.54380137747167</c:v>
                </c:pt>
                <c:pt idx="187">
                  <c:v>31.098577013291635</c:v>
                </c:pt>
                <c:pt idx="188">
                  <c:v>30.830000000000002</c:v>
                </c:pt>
                <c:pt idx="189">
                  <c:v>30.95</c:v>
                </c:pt>
                <c:pt idx="190">
                  <c:v>30.550000000000004</c:v>
                </c:pt>
                <c:pt idx="191">
                  <c:v>29.89</c:v>
                </c:pt>
                <c:pt idx="192">
                  <c:v>29.56</c:v>
                </c:pt>
                <c:pt idx="193">
                  <c:v>29.11</c:v>
                </c:pt>
                <c:pt idx="194">
                  <c:v>28.990000000000002</c:v>
                </c:pt>
                <c:pt idx="195">
                  <c:v>29.160000000000004</c:v>
                </c:pt>
                <c:pt idx="196">
                  <c:v>29.71</c:v>
                </c:pt>
                <c:pt idx="197">
                  <c:v>30.410000000000004</c:v>
                </c:pt>
                <c:pt idx="198">
                  <c:v>30.770000000000003</c:v>
                </c:pt>
                <c:pt idx="199">
                  <c:v>33.548776056452262</c:v>
                </c:pt>
                <c:pt idx="200">
                  <c:v>33.796024835854986</c:v>
                </c:pt>
                <c:pt idx="201">
                  <c:v>33.404654929577461</c:v>
                </c:pt>
                <c:pt idx="202">
                  <c:v>33.030361418310342</c:v>
                </c:pt>
                <c:pt idx="203">
                  <c:v>32.712756365798079</c:v>
                </c:pt>
                <c:pt idx="204">
                  <c:v>32.35801292482217</c:v>
                </c:pt>
                <c:pt idx="205">
                  <c:v>32.393778681001699</c:v>
                </c:pt>
                <c:pt idx="206">
                  <c:v>32.426006697362915</c:v>
                </c:pt>
                <c:pt idx="207">
                  <c:v>32.177136015325665</c:v>
                </c:pt>
                <c:pt idx="208">
                  <c:v>32.879718909710391</c:v>
                </c:pt>
                <c:pt idx="209">
                  <c:v>32.881483192381488</c:v>
                </c:pt>
                <c:pt idx="210">
                  <c:v>32.671598898428641</c:v>
                </c:pt>
                <c:pt idx="211">
                  <c:v>30.898822345551018</c:v>
                </c:pt>
                <c:pt idx="212">
                  <c:v>30.5</c:v>
                </c:pt>
                <c:pt idx="213">
                  <c:v>30.07</c:v>
                </c:pt>
                <c:pt idx="214">
                  <c:v>29.57</c:v>
                </c:pt>
                <c:pt idx="215">
                  <c:v>28.830000000000002</c:v>
                </c:pt>
                <c:pt idx="216">
                  <c:v>26.160000000000004</c:v>
                </c:pt>
                <c:pt idx="217">
                  <c:v>25.570000000000004</c:v>
                </c:pt>
                <c:pt idx="218">
                  <c:v>25.49</c:v>
                </c:pt>
                <c:pt idx="219">
                  <c:v>25.57</c:v>
                </c:pt>
                <c:pt idx="220">
                  <c:v>27.769999999999996</c:v>
                </c:pt>
                <c:pt idx="221">
                  <c:v>28.93</c:v>
                </c:pt>
                <c:pt idx="222">
                  <c:v>29.790000000000003</c:v>
                </c:pt>
                <c:pt idx="223">
                  <c:v>31</c:v>
                </c:pt>
                <c:pt idx="224">
                  <c:v>31.310000000000006</c:v>
                </c:pt>
                <c:pt idx="225">
                  <c:v>31.220000000000002</c:v>
                </c:pt>
                <c:pt idx="226">
                  <c:v>31.140000000000004</c:v>
                </c:pt>
                <c:pt idx="227">
                  <c:v>31.060000000000002</c:v>
                </c:pt>
                <c:pt idx="228">
                  <c:v>30.99</c:v>
                </c:pt>
                <c:pt idx="229">
                  <c:v>31</c:v>
                </c:pt>
                <c:pt idx="230">
                  <c:v>31.010000000000005</c:v>
                </c:pt>
                <c:pt idx="231">
                  <c:v>31.03</c:v>
                </c:pt>
                <c:pt idx="232">
                  <c:v>33.068565756823823</c:v>
                </c:pt>
                <c:pt idx="233">
                  <c:v>33.156719004650796</c:v>
                </c:pt>
                <c:pt idx="234">
                  <c:v>32.715065200715927</c:v>
                </c:pt>
                <c:pt idx="235">
                  <c:v>30.540000000000003</c:v>
                </c:pt>
                <c:pt idx="236">
                  <c:v>29.809999999999995</c:v>
                </c:pt>
                <c:pt idx="237">
                  <c:v>29.549999999999997</c:v>
                </c:pt>
                <c:pt idx="238">
                  <c:v>29.150000000000002</c:v>
                </c:pt>
                <c:pt idx="239">
                  <c:v>28.08</c:v>
                </c:pt>
                <c:pt idx="240">
                  <c:v>24.379999999999995</c:v>
                </c:pt>
                <c:pt idx="241">
                  <c:v>22.78</c:v>
                </c:pt>
                <c:pt idx="242">
                  <c:v>22.05</c:v>
                </c:pt>
                <c:pt idx="243">
                  <c:v>22.1</c:v>
                </c:pt>
                <c:pt idx="244">
                  <c:v>23.6</c:v>
                </c:pt>
                <c:pt idx="245">
                  <c:v>24.648314281114153</c:v>
                </c:pt>
                <c:pt idx="246">
                  <c:v>27.820000000000004</c:v>
                </c:pt>
                <c:pt idx="247">
                  <c:v>28.96</c:v>
                </c:pt>
                <c:pt idx="248">
                  <c:v>29.14</c:v>
                </c:pt>
                <c:pt idx="249">
                  <c:v>29.120000000000005</c:v>
                </c:pt>
                <c:pt idx="250">
                  <c:v>29.15</c:v>
                </c:pt>
                <c:pt idx="251">
                  <c:v>29.16</c:v>
                </c:pt>
                <c:pt idx="252">
                  <c:v>29.17</c:v>
                </c:pt>
                <c:pt idx="253">
                  <c:v>29.130000000000003</c:v>
                </c:pt>
                <c:pt idx="254">
                  <c:v>29.149999999999995</c:v>
                </c:pt>
                <c:pt idx="255">
                  <c:v>29.18</c:v>
                </c:pt>
                <c:pt idx="256">
                  <c:v>29.400000000000002</c:v>
                </c:pt>
                <c:pt idx="257">
                  <c:v>29.570000000000004</c:v>
                </c:pt>
                <c:pt idx="258">
                  <c:v>29.380000000000003</c:v>
                </c:pt>
                <c:pt idx="259">
                  <c:v>29.13</c:v>
                </c:pt>
                <c:pt idx="260">
                  <c:v>28.6</c:v>
                </c:pt>
                <c:pt idx="261">
                  <c:v>27.91</c:v>
                </c:pt>
                <c:pt idx="262">
                  <c:v>26.27</c:v>
                </c:pt>
                <c:pt idx="263">
                  <c:v>10.37692083062946</c:v>
                </c:pt>
                <c:pt idx="264">
                  <c:v>1.4521580762738815</c:v>
                </c:pt>
                <c:pt idx="265">
                  <c:v>0.63277797290516813</c:v>
                </c:pt>
                <c:pt idx="266">
                  <c:v>0.67657114979715494</c:v>
                </c:pt>
                <c:pt idx="267">
                  <c:v>0.67591248976140761</c:v>
                </c:pt>
                <c:pt idx="268">
                  <c:v>2.2622396777442093</c:v>
                </c:pt>
                <c:pt idx="269">
                  <c:v>4.4510959452027397</c:v>
                </c:pt>
                <c:pt idx="270">
                  <c:v>28.29</c:v>
                </c:pt>
                <c:pt idx="271">
                  <c:v>29.41</c:v>
                </c:pt>
                <c:pt idx="272">
                  <c:v>29.78</c:v>
                </c:pt>
                <c:pt idx="273">
                  <c:v>29.5</c:v>
                </c:pt>
                <c:pt idx="274">
                  <c:v>29.540000000000003</c:v>
                </c:pt>
                <c:pt idx="275">
                  <c:v>29.5</c:v>
                </c:pt>
                <c:pt idx="276">
                  <c:v>29.47</c:v>
                </c:pt>
                <c:pt idx="277">
                  <c:v>29.5</c:v>
                </c:pt>
                <c:pt idx="278">
                  <c:v>29.55</c:v>
                </c:pt>
                <c:pt idx="279">
                  <c:v>29.64</c:v>
                </c:pt>
                <c:pt idx="280">
                  <c:v>30.23</c:v>
                </c:pt>
                <c:pt idx="281">
                  <c:v>30.520000000000003</c:v>
                </c:pt>
                <c:pt idx="282">
                  <c:v>30.280000000000005</c:v>
                </c:pt>
                <c:pt idx="283">
                  <c:v>29.880000000000003</c:v>
                </c:pt>
                <c:pt idx="284">
                  <c:v>29.5</c:v>
                </c:pt>
                <c:pt idx="285">
                  <c:v>29.43</c:v>
                </c:pt>
                <c:pt idx="286">
                  <c:v>29.21</c:v>
                </c:pt>
                <c:pt idx="287">
                  <c:v>28.829999999999995</c:v>
                </c:pt>
                <c:pt idx="288">
                  <c:v>29.150000000000002</c:v>
                </c:pt>
                <c:pt idx="289">
                  <c:v>29.010000000000005</c:v>
                </c:pt>
                <c:pt idx="290">
                  <c:v>29.09</c:v>
                </c:pt>
                <c:pt idx="291">
                  <c:v>29.09</c:v>
                </c:pt>
                <c:pt idx="292">
                  <c:v>29.250000000000004</c:v>
                </c:pt>
                <c:pt idx="293">
                  <c:v>30.64</c:v>
                </c:pt>
                <c:pt idx="294">
                  <c:v>34.119999999999997</c:v>
                </c:pt>
                <c:pt idx="295">
                  <c:v>39.817388951521984</c:v>
                </c:pt>
                <c:pt idx="296">
                  <c:v>41.888066248880932</c:v>
                </c:pt>
                <c:pt idx="297">
                  <c:v>41.757383867482901</c:v>
                </c:pt>
                <c:pt idx="298">
                  <c:v>41.44220930232558</c:v>
                </c:pt>
                <c:pt idx="299">
                  <c:v>38.868404411764708</c:v>
                </c:pt>
                <c:pt idx="300">
                  <c:v>37.488295470579942</c:v>
                </c:pt>
                <c:pt idx="301">
                  <c:v>37.511117563556589</c:v>
                </c:pt>
                <c:pt idx="302">
                  <c:v>32.959050722920125</c:v>
                </c:pt>
                <c:pt idx="303">
                  <c:v>32.490583644384124</c:v>
                </c:pt>
                <c:pt idx="304">
                  <c:v>35.828698763825635</c:v>
                </c:pt>
                <c:pt idx="305">
                  <c:v>41.919267448352883</c:v>
                </c:pt>
                <c:pt idx="306">
                  <c:v>39.07186515513127</c:v>
                </c:pt>
                <c:pt idx="307">
                  <c:v>34.324165942118995</c:v>
                </c:pt>
                <c:pt idx="308">
                  <c:v>31.380000000000003</c:v>
                </c:pt>
                <c:pt idx="309">
                  <c:v>31.12</c:v>
                </c:pt>
                <c:pt idx="310">
                  <c:v>30.780000000000005</c:v>
                </c:pt>
                <c:pt idx="311">
                  <c:v>29.92</c:v>
                </c:pt>
                <c:pt idx="312">
                  <c:v>29.82</c:v>
                </c:pt>
                <c:pt idx="313">
                  <c:v>28.980000000000004</c:v>
                </c:pt>
                <c:pt idx="314">
                  <c:v>28.64</c:v>
                </c:pt>
                <c:pt idx="315">
                  <c:v>28.499999999999996</c:v>
                </c:pt>
                <c:pt idx="316">
                  <c:v>28.610000000000003</c:v>
                </c:pt>
                <c:pt idx="317">
                  <c:v>28.050000000000004</c:v>
                </c:pt>
                <c:pt idx="318">
                  <c:v>29.49</c:v>
                </c:pt>
                <c:pt idx="319">
                  <c:v>29.016675656052275</c:v>
                </c:pt>
                <c:pt idx="320">
                  <c:v>31.277882471599955</c:v>
                </c:pt>
                <c:pt idx="321">
                  <c:v>31.009999999999998</c:v>
                </c:pt>
                <c:pt idx="322">
                  <c:v>31.266525943641472</c:v>
                </c:pt>
                <c:pt idx="323">
                  <c:v>31.283699922259654</c:v>
                </c:pt>
                <c:pt idx="324">
                  <c:v>31.139999999999997</c:v>
                </c:pt>
                <c:pt idx="325">
                  <c:v>30.960000000000004</c:v>
                </c:pt>
                <c:pt idx="326">
                  <c:v>30.969999999999995</c:v>
                </c:pt>
                <c:pt idx="327">
                  <c:v>31.13</c:v>
                </c:pt>
                <c:pt idx="328">
                  <c:v>31.694471808165908</c:v>
                </c:pt>
                <c:pt idx="329">
                  <c:v>32.164770787358961</c:v>
                </c:pt>
                <c:pt idx="330">
                  <c:v>31.900456394402859</c:v>
                </c:pt>
                <c:pt idx="331">
                  <c:v>31.365031773061432</c:v>
                </c:pt>
                <c:pt idx="332">
                  <c:v>31.17161023325809</c:v>
                </c:pt>
                <c:pt idx="333">
                  <c:v>30.659999999999997</c:v>
                </c:pt>
                <c:pt idx="334">
                  <c:v>30.25</c:v>
                </c:pt>
                <c:pt idx="335">
                  <c:v>29.55</c:v>
                </c:pt>
                <c:pt idx="336">
                  <c:v>29.02</c:v>
                </c:pt>
                <c:pt idx="337">
                  <c:v>28.54</c:v>
                </c:pt>
                <c:pt idx="338">
                  <c:v>27.330000000000002</c:v>
                </c:pt>
                <c:pt idx="339">
                  <c:v>27.089999999999996</c:v>
                </c:pt>
                <c:pt idx="340">
                  <c:v>27.330000000000002</c:v>
                </c:pt>
                <c:pt idx="341">
                  <c:v>28.7</c:v>
                </c:pt>
                <c:pt idx="342">
                  <c:v>29.089999999999996</c:v>
                </c:pt>
                <c:pt idx="343">
                  <c:v>27.616653117980533</c:v>
                </c:pt>
                <c:pt idx="344">
                  <c:v>31.882597544338338</c:v>
                </c:pt>
                <c:pt idx="345">
                  <c:v>31.94</c:v>
                </c:pt>
                <c:pt idx="346">
                  <c:v>32.06</c:v>
                </c:pt>
                <c:pt idx="347">
                  <c:v>32.15</c:v>
                </c:pt>
                <c:pt idx="348">
                  <c:v>31.950000000000003</c:v>
                </c:pt>
                <c:pt idx="349">
                  <c:v>31.700000000000006</c:v>
                </c:pt>
                <c:pt idx="350">
                  <c:v>31.500000000000004</c:v>
                </c:pt>
                <c:pt idx="351">
                  <c:v>31.7</c:v>
                </c:pt>
                <c:pt idx="352">
                  <c:v>34.425382830626454</c:v>
                </c:pt>
                <c:pt idx="353">
                  <c:v>38.622878494326052</c:v>
                </c:pt>
                <c:pt idx="354">
                  <c:v>36.665231689088195</c:v>
                </c:pt>
                <c:pt idx="355">
                  <c:v>34.588314703353397</c:v>
                </c:pt>
                <c:pt idx="356">
                  <c:v>32.18</c:v>
                </c:pt>
                <c:pt idx="357">
                  <c:v>31.94</c:v>
                </c:pt>
                <c:pt idx="358">
                  <c:v>31.72</c:v>
                </c:pt>
                <c:pt idx="359">
                  <c:v>31.11</c:v>
                </c:pt>
                <c:pt idx="360">
                  <c:v>31.010000000000005</c:v>
                </c:pt>
                <c:pt idx="361">
                  <c:v>30.93</c:v>
                </c:pt>
                <c:pt idx="362">
                  <c:v>30.900000000000002</c:v>
                </c:pt>
                <c:pt idx="363">
                  <c:v>30.930000000000003</c:v>
                </c:pt>
                <c:pt idx="364">
                  <c:v>31.34</c:v>
                </c:pt>
                <c:pt idx="365">
                  <c:v>31.860000000000003</c:v>
                </c:pt>
                <c:pt idx="366">
                  <c:v>36.42</c:v>
                </c:pt>
                <c:pt idx="367">
                  <c:v>60.04</c:v>
                </c:pt>
                <c:pt idx="368">
                  <c:v>59.9</c:v>
                </c:pt>
                <c:pt idx="369">
                  <c:v>56.28</c:v>
                </c:pt>
                <c:pt idx="370">
                  <c:v>57.788624906413773</c:v>
                </c:pt>
                <c:pt idx="371">
                  <c:v>57.202425731516634</c:v>
                </c:pt>
                <c:pt idx="372">
                  <c:v>56.822346732539863</c:v>
                </c:pt>
                <c:pt idx="373">
                  <c:v>60.609999999999992</c:v>
                </c:pt>
                <c:pt idx="374">
                  <c:v>61.029999999999994</c:v>
                </c:pt>
                <c:pt idx="375">
                  <c:v>58.71</c:v>
                </c:pt>
                <c:pt idx="376">
                  <c:v>87.38</c:v>
                </c:pt>
                <c:pt idx="377">
                  <c:v>117.12</c:v>
                </c:pt>
                <c:pt idx="378">
                  <c:v>82.840000000000018</c:v>
                </c:pt>
                <c:pt idx="379">
                  <c:v>56.4</c:v>
                </c:pt>
                <c:pt idx="380">
                  <c:v>41.550174793008274</c:v>
                </c:pt>
                <c:pt idx="381">
                  <c:v>33.959999999999994</c:v>
                </c:pt>
                <c:pt idx="382">
                  <c:v>32.01</c:v>
                </c:pt>
                <c:pt idx="383">
                  <c:v>31.109999999999996</c:v>
                </c:pt>
                <c:pt idx="384">
                  <c:v>31.01</c:v>
                </c:pt>
                <c:pt idx="385">
                  <c:v>30.61</c:v>
                </c:pt>
                <c:pt idx="386">
                  <c:v>30.65</c:v>
                </c:pt>
                <c:pt idx="387">
                  <c:v>30.679999999999996</c:v>
                </c:pt>
                <c:pt idx="388">
                  <c:v>31.12</c:v>
                </c:pt>
                <c:pt idx="389">
                  <c:v>32.67</c:v>
                </c:pt>
                <c:pt idx="390">
                  <c:v>36.697099673202615</c:v>
                </c:pt>
                <c:pt idx="391">
                  <c:v>48.24</c:v>
                </c:pt>
                <c:pt idx="392">
                  <c:v>49.407056737588654</c:v>
                </c:pt>
                <c:pt idx="393">
                  <c:v>42.316173361522203</c:v>
                </c:pt>
                <c:pt idx="394">
                  <c:v>41.859754449200274</c:v>
                </c:pt>
                <c:pt idx="395">
                  <c:v>38.592817598533451</c:v>
                </c:pt>
                <c:pt idx="396">
                  <c:v>35.4206769630485</c:v>
                </c:pt>
                <c:pt idx="397">
                  <c:v>34.017507886435332</c:v>
                </c:pt>
                <c:pt idx="398">
                  <c:v>33.13860989901508</c:v>
                </c:pt>
                <c:pt idx="399">
                  <c:v>32.774313361032142</c:v>
                </c:pt>
                <c:pt idx="400">
                  <c:v>33.545457597851112</c:v>
                </c:pt>
                <c:pt idx="401">
                  <c:v>34.727675074818293</c:v>
                </c:pt>
                <c:pt idx="402">
                  <c:v>33.405834279228152</c:v>
                </c:pt>
                <c:pt idx="403">
                  <c:v>32.102898693057348</c:v>
                </c:pt>
                <c:pt idx="404">
                  <c:v>31.533219826994372</c:v>
                </c:pt>
                <c:pt idx="405">
                  <c:v>30.559999999999995</c:v>
                </c:pt>
                <c:pt idx="406">
                  <c:v>30.08</c:v>
                </c:pt>
                <c:pt idx="407">
                  <c:v>29.709999999999997</c:v>
                </c:pt>
                <c:pt idx="408">
                  <c:v>29.010000000000005</c:v>
                </c:pt>
                <c:pt idx="409">
                  <c:v>28.58</c:v>
                </c:pt>
                <c:pt idx="410">
                  <c:v>28.450000000000003</c:v>
                </c:pt>
                <c:pt idx="411">
                  <c:v>28.54</c:v>
                </c:pt>
                <c:pt idx="412">
                  <c:v>29.13</c:v>
                </c:pt>
                <c:pt idx="413">
                  <c:v>29.73</c:v>
                </c:pt>
                <c:pt idx="414">
                  <c:v>30.04</c:v>
                </c:pt>
                <c:pt idx="415">
                  <c:v>30.79</c:v>
                </c:pt>
                <c:pt idx="416">
                  <c:v>30.880000000000003</c:v>
                </c:pt>
                <c:pt idx="417">
                  <c:v>30.719999999999995</c:v>
                </c:pt>
                <c:pt idx="418">
                  <c:v>30.590000000000003</c:v>
                </c:pt>
                <c:pt idx="419">
                  <c:v>30.429999999999993</c:v>
                </c:pt>
                <c:pt idx="420">
                  <c:v>30.43</c:v>
                </c:pt>
                <c:pt idx="421">
                  <c:v>30.28</c:v>
                </c:pt>
                <c:pt idx="422">
                  <c:v>30.14</c:v>
                </c:pt>
                <c:pt idx="423">
                  <c:v>30.119999999999997</c:v>
                </c:pt>
                <c:pt idx="424">
                  <c:v>30.330000000000002</c:v>
                </c:pt>
                <c:pt idx="425">
                  <c:v>30.509999999999998</c:v>
                </c:pt>
                <c:pt idx="426">
                  <c:v>30.22</c:v>
                </c:pt>
                <c:pt idx="427">
                  <c:v>29.82</c:v>
                </c:pt>
                <c:pt idx="428">
                  <c:v>29.31</c:v>
                </c:pt>
                <c:pt idx="429">
                  <c:v>29.27</c:v>
                </c:pt>
                <c:pt idx="430">
                  <c:v>29.080000000000002</c:v>
                </c:pt>
                <c:pt idx="431">
                  <c:v>28.790000000000003</c:v>
                </c:pt>
                <c:pt idx="432">
                  <c:v>27.646006796941379</c:v>
                </c:pt>
                <c:pt idx="433">
                  <c:v>27.3</c:v>
                </c:pt>
                <c:pt idx="434">
                  <c:v>27.140000000000004</c:v>
                </c:pt>
                <c:pt idx="435">
                  <c:v>27.42</c:v>
                </c:pt>
                <c:pt idx="436">
                  <c:v>28.35</c:v>
                </c:pt>
                <c:pt idx="437">
                  <c:v>29.11</c:v>
                </c:pt>
                <c:pt idx="438">
                  <c:v>29.390000000000004</c:v>
                </c:pt>
                <c:pt idx="439">
                  <c:v>29.86</c:v>
                </c:pt>
                <c:pt idx="440">
                  <c:v>30.43</c:v>
                </c:pt>
                <c:pt idx="441">
                  <c:v>30.28</c:v>
                </c:pt>
                <c:pt idx="442">
                  <c:v>29.970000000000002</c:v>
                </c:pt>
                <c:pt idx="443">
                  <c:v>29.82</c:v>
                </c:pt>
                <c:pt idx="444">
                  <c:v>29.649999999999995</c:v>
                </c:pt>
                <c:pt idx="445">
                  <c:v>29.570000000000004</c:v>
                </c:pt>
                <c:pt idx="446">
                  <c:v>29.53</c:v>
                </c:pt>
                <c:pt idx="447">
                  <c:v>29.530000000000005</c:v>
                </c:pt>
                <c:pt idx="448">
                  <c:v>29.69</c:v>
                </c:pt>
                <c:pt idx="449">
                  <c:v>29.84</c:v>
                </c:pt>
                <c:pt idx="450">
                  <c:v>29.79</c:v>
                </c:pt>
                <c:pt idx="451">
                  <c:v>29.53</c:v>
                </c:pt>
                <c:pt idx="452">
                  <c:v>28.870000000000005</c:v>
                </c:pt>
                <c:pt idx="453">
                  <c:v>28.79</c:v>
                </c:pt>
                <c:pt idx="454">
                  <c:v>28.740000000000002</c:v>
                </c:pt>
                <c:pt idx="455">
                  <c:v>28.409999999999997</c:v>
                </c:pt>
                <c:pt idx="456">
                  <c:v>27.23</c:v>
                </c:pt>
                <c:pt idx="457">
                  <c:v>27.26</c:v>
                </c:pt>
                <c:pt idx="458">
                  <c:v>27.11</c:v>
                </c:pt>
                <c:pt idx="459">
                  <c:v>27.339999999999996</c:v>
                </c:pt>
                <c:pt idx="460">
                  <c:v>27.9</c:v>
                </c:pt>
                <c:pt idx="461">
                  <c:v>28.01</c:v>
                </c:pt>
                <c:pt idx="462">
                  <c:v>28.59</c:v>
                </c:pt>
                <c:pt idx="463">
                  <c:v>29.73</c:v>
                </c:pt>
                <c:pt idx="464">
                  <c:v>29.98</c:v>
                </c:pt>
                <c:pt idx="465">
                  <c:v>29.89</c:v>
                </c:pt>
                <c:pt idx="466">
                  <c:v>29.84</c:v>
                </c:pt>
                <c:pt idx="467">
                  <c:v>29.72</c:v>
                </c:pt>
                <c:pt idx="468">
                  <c:v>29.500000000000004</c:v>
                </c:pt>
                <c:pt idx="469">
                  <c:v>29.37</c:v>
                </c:pt>
                <c:pt idx="470">
                  <c:v>29.08</c:v>
                </c:pt>
                <c:pt idx="471">
                  <c:v>28.92</c:v>
                </c:pt>
                <c:pt idx="472">
                  <c:v>29.33</c:v>
                </c:pt>
                <c:pt idx="473">
                  <c:v>29.62</c:v>
                </c:pt>
                <c:pt idx="474">
                  <c:v>29.519999999999996</c:v>
                </c:pt>
                <c:pt idx="475">
                  <c:v>28.9</c:v>
                </c:pt>
                <c:pt idx="476">
                  <c:v>28.36</c:v>
                </c:pt>
                <c:pt idx="477">
                  <c:v>28.28</c:v>
                </c:pt>
                <c:pt idx="478">
                  <c:v>28.109999999999996</c:v>
                </c:pt>
                <c:pt idx="479">
                  <c:v>27.69</c:v>
                </c:pt>
                <c:pt idx="480">
                  <c:v>27.64</c:v>
                </c:pt>
                <c:pt idx="481">
                  <c:v>27.149999999999995</c:v>
                </c:pt>
                <c:pt idx="482">
                  <c:v>26.900000000000002</c:v>
                </c:pt>
                <c:pt idx="483">
                  <c:v>26.929999999999996</c:v>
                </c:pt>
                <c:pt idx="484">
                  <c:v>27.22</c:v>
                </c:pt>
                <c:pt idx="485">
                  <c:v>27.74</c:v>
                </c:pt>
                <c:pt idx="486">
                  <c:v>27.77</c:v>
                </c:pt>
                <c:pt idx="487">
                  <c:v>28.24</c:v>
                </c:pt>
                <c:pt idx="488">
                  <c:v>28.8</c:v>
                </c:pt>
                <c:pt idx="489">
                  <c:v>29.17</c:v>
                </c:pt>
                <c:pt idx="490">
                  <c:v>29.52</c:v>
                </c:pt>
                <c:pt idx="491">
                  <c:v>29.510000000000005</c:v>
                </c:pt>
                <c:pt idx="492">
                  <c:v>29.29</c:v>
                </c:pt>
                <c:pt idx="493">
                  <c:v>29.09</c:v>
                </c:pt>
                <c:pt idx="494">
                  <c:v>29.06</c:v>
                </c:pt>
                <c:pt idx="495">
                  <c:v>29.51</c:v>
                </c:pt>
                <c:pt idx="496">
                  <c:v>29.900000000000002</c:v>
                </c:pt>
                <c:pt idx="497">
                  <c:v>30.94</c:v>
                </c:pt>
                <c:pt idx="498">
                  <c:v>30.36</c:v>
                </c:pt>
                <c:pt idx="499">
                  <c:v>29.820000000000004</c:v>
                </c:pt>
                <c:pt idx="500">
                  <c:v>29.310000000000002</c:v>
                </c:pt>
                <c:pt idx="501">
                  <c:v>28.970000000000002</c:v>
                </c:pt>
                <c:pt idx="502">
                  <c:v>28.540000000000003</c:v>
                </c:pt>
                <c:pt idx="503">
                  <c:v>28.13</c:v>
                </c:pt>
                <c:pt idx="504">
                  <c:v>28.57</c:v>
                </c:pt>
                <c:pt idx="505">
                  <c:v>28.080000000000002</c:v>
                </c:pt>
                <c:pt idx="506">
                  <c:v>27.779999999999998</c:v>
                </c:pt>
                <c:pt idx="507">
                  <c:v>27.71</c:v>
                </c:pt>
                <c:pt idx="508">
                  <c:v>27.75</c:v>
                </c:pt>
                <c:pt idx="509">
                  <c:v>28.02</c:v>
                </c:pt>
                <c:pt idx="510">
                  <c:v>28.049999999999997</c:v>
                </c:pt>
                <c:pt idx="511">
                  <c:v>28.44</c:v>
                </c:pt>
                <c:pt idx="512">
                  <c:v>28.75</c:v>
                </c:pt>
                <c:pt idx="513">
                  <c:v>29.290000000000003</c:v>
                </c:pt>
                <c:pt idx="514">
                  <c:v>29.6</c:v>
                </c:pt>
                <c:pt idx="515">
                  <c:v>29.59</c:v>
                </c:pt>
                <c:pt idx="516">
                  <c:v>29.53</c:v>
                </c:pt>
                <c:pt idx="517">
                  <c:v>29.52</c:v>
                </c:pt>
                <c:pt idx="518">
                  <c:v>29.52</c:v>
                </c:pt>
                <c:pt idx="519">
                  <c:v>29.619999999999997</c:v>
                </c:pt>
                <c:pt idx="520">
                  <c:v>29.98</c:v>
                </c:pt>
                <c:pt idx="521">
                  <c:v>30.699999999999996</c:v>
                </c:pt>
                <c:pt idx="522">
                  <c:v>30.53</c:v>
                </c:pt>
                <c:pt idx="523">
                  <c:v>29.949999999999996</c:v>
                </c:pt>
                <c:pt idx="524">
                  <c:v>29.650000000000002</c:v>
                </c:pt>
                <c:pt idx="525">
                  <c:v>29.53</c:v>
                </c:pt>
                <c:pt idx="526">
                  <c:v>29.04</c:v>
                </c:pt>
                <c:pt idx="527">
                  <c:v>28.420000000000005</c:v>
                </c:pt>
                <c:pt idx="528">
                  <c:v>28.340000000000003</c:v>
                </c:pt>
                <c:pt idx="529">
                  <c:v>28.05</c:v>
                </c:pt>
                <c:pt idx="530">
                  <c:v>27.86</c:v>
                </c:pt>
                <c:pt idx="531">
                  <c:v>27.81</c:v>
                </c:pt>
                <c:pt idx="532">
                  <c:v>28.44</c:v>
                </c:pt>
                <c:pt idx="533">
                  <c:v>28.630000000000006</c:v>
                </c:pt>
                <c:pt idx="534">
                  <c:v>29.39</c:v>
                </c:pt>
                <c:pt idx="535">
                  <c:v>30.310000000000006</c:v>
                </c:pt>
                <c:pt idx="536">
                  <c:v>30.62</c:v>
                </c:pt>
                <c:pt idx="537">
                  <c:v>30.320000000000004</c:v>
                </c:pt>
                <c:pt idx="538">
                  <c:v>30.09</c:v>
                </c:pt>
                <c:pt idx="539">
                  <c:v>29.960000000000004</c:v>
                </c:pt>
                <c:pt idx="540">
                  <c:v>29.849999999999998</c:v>
                </c:pt>
                <c:pt idx="541">
                  <c:v>29.780000000000005</c:v>
                </c:pt>
                <c:pt idx="542">
                  <c:v>29.750000000000004</c:v>
                </c:pt>
                <c:pt idx="543">
                  <c:v>29.850000000000005</c:v>
                </c:pt>
                <c:pt idx="544">
                  <c:v>30.240000000000002</c:v>
                </c:pt>
                <c:pt idx="545">
                  <c:v>31.08</c:v>
                </c:pt>
                <c:pt idx="546">
                  <c:v>30.439999999999998</c:v>
                </c:pt>
                <c:pt idx="547">
                  <c:v>29.909999999999997</c:v>
                </c:pt>
                <c:pt idx="548">
                  <c:v>29.550000000000004</c:v>
                </c:pt>
                <c:pt idx="549">
                  <c:v>29.35</c:v>
                </c:pt>
                <c:pt idx="550">
                  <c:v>28.85</c:v>
                </c:pt>
                <c:pt idx="551">
                  <c:v>28.45</c:v>
                </c:pt>
                <c:pt idx="552">
                  <c:v>29.04</c:v>
                </c:pt>
                <c:pt idx="553">
                  <c:v>28.93</c:v>
                </c:pt>
                <c:pt idx="554">
                  <c:v>28.930000000000003</c:v>
                </c:pt>
                <c:pt idx="555">
                  <c:v>29.03</c:v>
                </c:pt>
                <c:pt idx="556">
                  <c:v>29.53</c:v>
                </c:pt>
                <c:pt idx="557">
                  <c:v>29.71</c:v>
                </c:pt>
                <c:pt idx="558">
                  <c:v>30.980000000000008</c:v>
                </c:pt>
                <c:pt idx="559">
                  <c:v>45.89</c:v>
                </c:pt>
                <c:pt idx="560">
                  <c:v>49.2</c:v>
                </c:pt>
                <c:pt idx="561">
                  <c:v>48.86999999999999</c:v>
                </c:pt>
                <c:pt idx="562">
                  <c:v>48.02</c:v>
                </c:pt>
                <c:pt idx="563">
                  <c:v>46.009302045728035</c:v>
                </c:pt>
                <c:pt idx="564">
                  <c:v>40.92</c:v>
                </c:pt>
                <c:pt idx="565">
                  <c:v>37</c:v>
                </c:pt>
                <c:pt idx="566">
                  <c:v>34.92</c:v>
                </c:pt>
                <c:pt idx="567">
                  <c:v>34.880000000000003</c:v>
                </c:pt>
                <c:pt idx="568">
                  <c:v>37.861749718995874</c:v>
                </c:pt>
                <c:pt idx="569">
                  <c:v>56.30221512247072</c:v>
                </c:pt>
                <c:pt idx="570">
                  <c:v>47.553109445277357</c:v>
                </c:pt>
                <c:pt idx="571">
                  <c:v>31.6</c:v>
                </c:pt>
                <c:pt idx="572">
                  <c:v>30.339999999999996</c:v>
                </c:pt>
                <c:pt idx="573">
                  <c:v>29.91</c:v>
                </c:pt>
                <c:pt idx="574">
                  <c:v>29.08</c:v>
                </c:pt>
                <c:pt idx="575">
                  <c:v>28.579999999999995</c:v>
                </c:pt>
                <c:pt idx="576">
                  <c:v>28.839999999999996</c:v>
                </c:pt>
                <c:pt idx="577">
                  <c:v>28.470000000000002</c:v>
                </c:pt>
                <c:pt idx="578">
                  <c:v>28.18</c:v>
                </c:pt>
                <c:pt idx="579">
                  <c:v>28.19</c:v>
                </c:pt>
                <c:pt idx="580">
                  <c:v>28.820000000000004</c:v>
                </c:pt>
                <c:pt idx="581">
                  <c:v>28.7</c:v>
                </c:pt>
                <c:pt idx="582">
                  <c:v>29.41</c:v>
                </c:pt>
                <c:pt idx="583">
                  <c:v>31.229999999999997</c:v>
                </c:pt>
                <c:pt idx="584">
                  <c:v>32.876178378800908</c:v>
                </c:pt>
                <c:pt idx="585">
                  <c:v>31.400000000000002</c:v>
                </c:pt>
                <c:pt idx="586">
                  <c:v>31.220000000000002</c:v>
                </c:pt>
                <c:pt idx="587">
                  <c:v>30.88</c:v>
                </c:pt>
                <c:pt idx="588">
                  <c:v>30.680000000000007</c:v>
                </c:pt>
                <c:pt idx="589">
                  <c:v>30.51</c:v>
                </c:pt>
                <c:pt idx="590">
                  <c:v>30.25</c:v>
                </c:pt>
                <c:pt idx="591">
                  <c:v>30.27</c:v>
                </c:pt>
                <c:pt idx="592">
                  <c:v>30.76</c:v>
                </c:pt>
                <c:pt idx="593">
                  <c:v>35.347185628742515</c:v>
                </c:pt>
                <c:pt idx="594">
                  <c:v>30.919999999999998</c:v>
                </c:pt>
                <c:pt idx="595">
                  <c:v>29.89</c:v>
                </c:pt>
                <c:pt idx="596">
                  <c:v>29.190000000000005</c:v>
                </c:pt>
                <c:pt idx="597">
                  <c:v>28.93</c:v>
                </c:pt>
                <c:pt idx="598">
                  <c:v>28.23</c:v>
                </c:pt>
                <c:pt idx="599">
                  <c:v>27.739999999999995</c:v>
                </c:pt>
                <c:pt idx="600">
                  <c:v>28.08</c:v>
                </c:pt>
                <c:pt idx="601">
                  <c:v>27.62</c:v>
                </c:pt>
                <c:pt idx="602">
                  <c:v>27.347659932659933</c:v>
                </c:pt>
                <c:pt idx="603">
                  <c:v>27.15522841453441</c:v>
                </c:pt>
                <c:pt idx="604">
                  <c:v>27.46</c:v>
                </c:pt>
                <c:pt idx="605">
                  <c:v>28.35</c:v>
                </c:pt>
                <c:pt idx="606">
                  <c:v>29.250000000000004</c:v>
                </c:pt>
                <c:pt idx="607">
                  <c:v>31.968850096979772</c:v>
                </c:pt>
                <c:pt idx="608">
                  <c:v>32.250140038192228</c:v>
                </c:pt>
                <c:pt idx="609">
                  <c:v>31.788370672097756</c:v>
                </c:pt>
                <c:pt idx="610">
                  <c:v>32.372512886597931</c:v>
                </c:pt>
                <c:pt idx="611">
                  <c:v>33.071287128712875</c:v>
                </c:pt>
                <c:pt idx="612">
                  <c:v>33.344274157303374</c:v>
                </c:pt>
                <c:pt idx="613">
                  <c:v>33.274276315789479</c:v>
                </c:pt>
                <c:pt idx="614">
                  <c:v>33.049521805661819</c:v>
                </c:pt>
                <c:pt idx="615">
                  <c:v>32.722040737893927</c:v>
                </c:pt>
                <c:pt idx="616">
                  <c:v>32.550904645476777</c:v>
                </c:pt>
                <c:pt idx="617">
                  <c:v>33.761112600536187</c:v>
                </c:pt>
                <c:pt idx="618">
                  <c:v>33.239738878143129</c:v>
                </c:pt>
                <c:pt idx="619">
                  <c:v>32.868674468324521</c:v>
                </c:pt>
                <c:pt idx="620">
                  <c:v>30.676903914590753</c:v>
                </c:pt>
                <c:pt idx="621">
                  <c:v>29.835495520980672</c:v>
                </c:pt>
                <c:pt idx="622">
                  <c:v>29.21</c:v>
                </c:pt>
                <c:pt idx="623">
                  <c:v>28.830000000000002</c:v>
                </c:pt>
                <c:pt idx="624">
                  <c:v>28.519999999999996</c:v>
                </c:pt>
                <c:pt idx="625">
                  <c:v>28.13</c:v>
                </c:pt>
                <c:pt idx="626">
                  <c:v>28.07</c:v>
                </c:pt>
                <c:pt idx="627">
                  <c:v>28.3</c:v>
                </c:pt>
                <c:pt idx="628">
                  <c:v>28.69</c:v>
                </c:pt>
                <c:pt idx="629">
                  <c:v>29.58</c:v>
                </c:pt>
                <c:pt idx="630">
                  <c:v>30.879999999999995</c:v>
                </c:pt>
                <c:pt idx="631">
                  <c:v>34.231402535657686</c:v>
                </c:pt>
                <c:pt idx="632">
                  <c:v>35.094992243251625</c:v>
                </c:pt>
                <c:pt idx="633">
                  <c:v>34.44129012810852</c:v>
                </c:pt>
                <c:pt idx="634">
                  <c:v>33.500403331650681</c:v>
                </c:pt>
                <c:pt idx="635">
                  <c:v>33.174093504830019</c:v>
                </c:pt>
                <c:pt idx="636">
                  <c:v>32.760929111427629</c:v>
                </c:pt>
                <c:pt idx="637">
                  <c:v>32.482460615153784</c:v>
                </c:pt>
                <c:pt idx="638">
                  <c:v>32.570652242677298</c:v>
                </c:pt>
                <c:pt idx="639">
                  <c:v>32.671905026381566</c:v>
                </c:pt>
                <c:pt idx="640">
                  <c:v>33.691165048543688</c:v>
                </c:pt>
                <c:pt idx="641">
                  <c:v>35.824646007151365</c:v>
                </c:pt>
                <c:pt idx="642">
                  <c:v>34.04828636709825</c:v>
                </c:pt>
                <c:pt idx="643">
                  <c:v>32.863912030294202</c:v>
                </c:pt>
                <c:pt idx="644">
                  <c:v>30.070000000000004</c:v>
                </c:pt>
                <c:pt idx="645">
                  <c:v>29.879999999999995</c:v>
                </c:pt>
                <c:pt idx="646">
                  <c:v>29.530000000000005</c:v>
                </c:pt>
                <c:pt idx="647">
                  <c:v>28.889999999999997</c:v>
                </c:pt>
                <c:pt idx="648">
                  <c:v>28.84</c:v>
                </c:pt>
                <c:pt idx="649">
                  <c:v>28.47</c:v>
                </c:pt>
                <c:pt idx="650">
                  <c:v>28.25</c:v>
                </c:pt>
                <c:pt idx="651">
                  <c:v>28.14</c:v>
                </c:pt>
                <c:pt idx="652">
                  <c:v>28.18</c:v>
                </c:pt>
                <c:pt idx="653">
                  <c:v>28.419999999999998</c:v>
                </c:pt>
                <c:pt idx="654">
                  <c:v>28.67</c:v>
                </c:pt>
                <c:pt idx="655">
                  <c:v>28.91</c:v>
                </c:pt>
                <c:pt idx="656">
                  <c:v>29.35</c:v>
                </c:pt>
                <c:pt idx="657">
                  <c:v>30.218713714139788</c:v>
                </c:pt>
                <c:pt idx="658">
                  <c:v>30.706771582733815</c:v>
                </c:pt>
                <c:pt idx="659">
                  <c:v>29.907338864717193</c:v>
                </c:pt>
                <c:pt idx="660">
                  <c:v>29.882935694315009</c:v>
                </c:pt>
                <c:pt idx="661">
                  <c:v>29.75</c:v>
                </c:pt>
                <c:pt idx="662">
                  <c:v>29.65</c:v>
                </c:pt>
                <c:pt idx="663">
                  <c:v>29.89</c:v>
                </c:pt>
                <c:pt idx="664">
                  <c:v>30.528390738299269</c:v>
                </c:pt>
                <c:pt idx="665">
                  <c:v>31.551701818181815</c:v>
                </c:pt>
                <c:pt idx="666">
                  <c:v>30.97</c:v>
                </c:pt>
                <c:pt idx="667">
                  <c:v>30.18</c:v>
                </c:pt>
                <c:pt idx="668">
                  <c:v>29.750000000000004</c:v>
                </c:pt>
                <c:pt idx="669">
                  <c:v>29.55</c:v>
                </c:pt>
                <c:pt idx="670">
                  <c:v>29.079999999999995</c:v>
                </c:pt>
                <c:pt idx="671">
                  <c:v>28.719999999999995</c:v>
                </c:pt>
                <c:pt idx="672">
                  <c:v>28.82</c:v>
                </c:pt>
                <c:pt idx="673">
                  <c:v>28.22</c:v>
                </c:pt>
                <c:pt idx="674">
                  <c:v>27.87</c:v>
                </c:pt>
                <c:pt idx="675">
                  <c:v>27.720000000000002</c:v>
                </c:pt>
                <c:pt idx="676">
                  <c:v>27.68</c:v>
                </c:pt>
                <c:pt idx="677">
                  <c:v>27.789999999999996</c:v>
                </c:pt>
                <c:pt idx="678">
                  <c:v>27.759999999999998</c:v>
                </c:pt>
                <c:pt idx="679">
                  <c:v>28.02</c:v>
                </c:pt>
                <c:pt idx="680">
                  <c:v>28.6</c:v>
                </c:pt>
                <c:pt idx="681">
                  <c:v>28.9</c:v>
                </c:pt>
                <c:pt idx="682">
                  <c:v>29.339999999999996</c:v>
                </c:pt>
                <c:pt idx="683">
                  <c:v>29.23</c:v>
                </c:pt>
                <c:pt idx="684">
                  <c:v>28.93</c:v>
                </c:pt>
                <c:pt idx="685">
                  <c:v>28.870000000000005</c:v>
                </c:pt>
                <c:pt idx="686">
                  <c:v>28.85</c:v>
                </c:pt>
                <c:pt idx="687">
                  <c:v>28.97</c:v>
                </c:pt>
                <c:pt idx="688">
                  <c:v>29.55</c:v>
                </c:pt>
                <c:pt idx="689">
                  <c:v>29.93</c:v>
                </c:pt>
                <c:pt idx="690">
                  <c:v>29.82</c:v>
                </c:pt>
                <c:pt idx="691">
                  <c:v>29.429999999999996</c:v>
                </c:pt>
                <c:pt idx="692">
                  <c:v>28.969999999999995</c:v>
                </c:pt>
                <c:pt idx="693">
                  <c:v>28.85</c:v>
                </c:pt>
                <c:pt idx="694">
                  <c:v>28.62</c:v>
                </c:pt>
                <c:pt idx="695">
                  <c:v>28.110000000000003</c:v>
                </c:pt>
                <c:pt idx="696">
                  <c:v>27.786227806199214</c:v>
                </c:pt>
                <c:pt idx="697">
                  <c:v>27.46</c:v>
                </c:pt>
                <c:pt idx="698">
                  <c:v>27.39</c:v>
                </c:pt>
                <c:pt idx="699">
                  <c:v>28.000000000000004</c:v>
                </c:pt>
                <c:pt idx="700">
                  <c:v>28.73</c:v>
                </c:pt>
                <c:pt idx="701">
                  <c:v>29.709999999999997</c:v>
                </c:pt>
                <c:pt idx="702">
                  <c:v>31.030000000000008</c:v>
                </c:pt>
                <c:pt idx="703">
                  <c:v>35.134974795211093</c:v>
                </c:pt>
                <c:pt idx="704">
                  <c:v>36.2143844911147</c:v>
                </c:pt>
                <c:pt idx="705">
                  <c:v>36.130461156438457</c:v>
                </c:pt>
                <c:pt idx="706">
                  <c:v>39.78258539852645</c:v>
                </c:pt>
                <c:pt idx="707">
                  <c:v>42.277588105726871</c:v>
                </c:pt>
                <c:pt idx="708">
                  <c:v>42.060571625344352</c:v>
                </c:pt>
                <c:pt idx="709">
                  <c:v>42.200132000754294</c:v>
                </c:pt>
                <c:pt idx="710">
                  <c:v>40.473536530703726</c:v>
                </c:pt>
                <c:pt idx="711">
                  <c:v>38.030703386676592</c:v>
                </c:pt>
                <c:pt idx="712">
                  <c:v>41.115383655645665</c:v>
                </c:pt>
                <c:pt idx="713">
                  <c:v>47.543099497156049</c:v>
                </c:pt>
                <c:pt idx="714">
                  <c:v>40.927183402967877</c:v>
                </c:pt>
                <c:pt idx="715">
                  <c:v>36.415231356545782</c:v>
                </c:pt>
                <c:pt idx="716">
                  <c:v>31.21</c:v>
                </c:pt>
                <c:pt idx="717">
                  <c:v>30.579999999999995</c:v>
                </c:pt>
                <c:pt idx="718">
                  <c:v>30.1</c:v>
                </c:pt>
                <c:pt idx="719">
                  <c:v>29.619999999999997</c:v>
                </c:pt>
                <c:pt idx="720">
                  <c:v>17.164965640872428</c:v>
                </c:pt>
                <c:pt idx="721">
                  <c:v>28.650000000000002</c:v>
                </c:pt>
                <c:pt idx="722">
                  <c:v>28.659999999999997</c:v>
                </c:pt>
                <c:pt idx="723">
                  <c:v>28.75</c:v>
                </c:pt>
                <c:pt idx="724">
                  <c:v>29.399999999999995</c:v>
                </c:pt>
                <c:pt idx="725">
                  <c:v>30.2</c:v>
                </c:pt>
                <c:pt idx="726">
                  <c:v>33.28</c:v>
                </c:pt>
                <c:pt idx="727">
                  <c:v>40.850000000000009</c:v>
                </c:pt>
                <c:pt idx="728">
                  <c:v>44.910000000000004</c:v>
                </c:pt>
                <c:pt idx="729">
                  <c:v>44.96</c:v>
                </c:pt>
                <c:pt idx="730">
                  <c:v>41.707301258563007</c:v>
                </c:pt>
                <c:pt idx="731">
                  <c:v>40.550505675954589</c:v>
                </c:pt>
                <c:pt idx="732">
                  <c:v>38.922384540117413</c:v>
                </c:pt>
                <c:pt idx="733">
                  <c:v>39.029033207229936</c:v>
                </c:pt>
                <c:pt idx="734">
                  <c:v>37.99008973639932</c:v>
                </c:pt>
                <c:pt idx="735">
                  <c:v>38.989518754423216</c:v>
                </c:pt>
                <c:pt idx="736">
                  <c:v>40.347165775401074</c:v>
                </c:pt>
                <c:pt idx="737">
                  <c:v>46.859999999999992</c:v>
                </c:pt>
                <c:pt idx="738">
                  <c:v>38.927270388863668</c:v>
                </c:pt>
                <c:pt idx="739">
                  <c:v>33.520000000000003</c:v>
                </c:pt>
                <c:pt idx="740">
                  <c:v>31.77</c:v>
                </c:pt>
                <c:pt idx="741">
                  <c:v>31.41</c:v>
                </c:pt>
                <c:pt idx="742">
                  <c:v>30.53</c:v>
                </c:pt>
                <c:pt idx="743">
                  <c:v>30.01</c:v>
                </c:pt>
                <c:pt idx="744">
                  <c:v>29.249999999999993</c:v>
                </c:pt>
                <c:pt idx="745">
                  <c:v>28.989999999999995</c:v>
                </c:pt>
                <c:pt idx="746">
                  <c:v>28.91</c:v>
                </c:pt>
                <c:pt idx="747">
                  <c:v>29.009999999999998</c:v>
                </c:pt>
                <c:pt idx="748">
                  <c:v>29.62</c:v>
                </c:pt>
                <c:pt idx="749">
                  <c:v>30.464710810810811</c:v>
                </c:pt>
                <c:pt idx="750">
                  <c:v>31.89</c:v>
                </c:pt>
                <c:pt idx="751">
                  <c:v>37.708964346349738</c:v>
                </c:pt>
                <c:pt idx="752">
                  <c:v>40.538129532134697</c:v>
                </c:pt>
                <c:pt idx="753">
                  <c:v>36.634814956488476</c:v>
                </c:pt>
                <c:pt idx="754">
                  <c:v>34.876097662424094</c:v>
                </c:pt>
                <c:pt idx="755">
                  <c:v>33.335966572992163</c:v>
                </c:pt>
                <c:pt idx="756">
                  <c:v>33.081817407354819</c:v>
                </c:pt>
                <c:pt idx="757">
                  <c:v>32.678130497571225</c:v>
                </c:pt>
                <c:pt idx="758">
                  <c:v>32.408014601249768</c:v>
                </c:pt>
                <c:pt idx="759">
                  <c:v>32.602931132612404</c:v>
                </c:pt>
                <c:pt idx="760">
                  <c:v>33.78345029239766</c:v>
                </c:pt>
                <c:pt idx="761">
                  <c:v>34.613975836431223</c:v>
                </c:pt>
                <c:pt idx="762">
                  <c:v>33.352876141501909</c:v>
                </c:pt>
                <c:pt idx="763">
                  <c:v>32.659738402371609</c:v>
                </c:pt>
                <c:pt idx="764">
                  <c:v>30.719149281935</c:v>
                </c:pt>
                <c:pt idx="765">
                  <c:v>30.329999999999995</c:v>
                </c:pt>
                <c:pt idx="766">
                  <c:v>29.830000000000002</c:v>
                </c:pt>
                <c:pt idx="767">
                  <c:v>28.989999999999995</c:v>
                </c:pt>
                <c:pt idx="768">
                  <c:v>29.029999999999998</c:v>
                </c:pt>
                <c:pt idx="769">
                  <c:v>28.73</c:v>
                </c:pt>
                <c:pt idx="770">
                  <c:v>28.6</c:v>
                </c:pt>
                <c:pt idx="771">
                  <c:v>28.64</c:v>
                </c:pt>
                <c:pt idx="772">
                  <c:v>29.150000000000002</c:v>
                </c:pt>
                <c:pt idx="773">
                  <c:v>29.879999999999995</c:v>
                </c:pt>
                <c:pt idx="774">
                  <c:v>31.05</c:v>
                </c:pt>
                <c:pt idx="775">
                  <c:v>34.254032212489406</c:v>
                </c:pt>
                <c:pt idx="776">
                  <c:v>34.89137771715216</c:v>
                </c:pt>
                <c:pt idx="777">
                  <c:v>35.061324003314617</c:v>
                </c:pt>
                <c:pt idx="778">
                  <c:v>35.132933281651241</c:v>
                </c:pt>
                <c:pt idx="779">
                  <c:v>34.224868778280545</c:v>
                </c:pt>
                <c:pt idx="780">
                  <c:v>32.977998641996265</c:v>
                </c:pt>
                <c:pt idx="781">
                  <c:v>33.105991872922061</c:v>
                </c:pt>
                <c:pt idx="782">
                  <c:v>34.90729287217254</c:v>
                </c:pt>
                <c:pt idx="783">
                  <c:v>34.303578493532839</c:v>
                </c:pt>
                <c:pt idx="784">
                  <c:v>34.681170046801874</c:v>
                </c:pt>
                <c:pt idx="785">
                  <c:v>35.023432861286466</c:v>
                </c:pt>
                <c:pt idx="786">
                  <c:v>34.840175631174532</c:v>
                </c:pt>
                <c:pt idx="787">
                  <c:v>34.33772274700025</c:v>
                </c:pt>
                <c:pt idx="788">
                  <c:v>32</c:v>
                </c:pt>
                <c:pt idx="789">
                  <c:v>31.53</c:v>
                </c:pt>
                <c:pt idx="790">
                  <c:v>30.840000000000003</c:v>
                </c:pt>
                <c:pt idx="791">
                  <c:v>30.059999999999995</c:v>
                </c:pt>
                <c:pt idx="792">
                  <c:v>30</c:v>
                </c:pt>
                <c:pt idx="793">
                  <c:v>29.7</c:v>
                </c:pt>
                <c:pt idx="794">
                  <c:v>29.6</c:v>
                </c:pt>
                <c:pt idx="795">
                  <c:v>29.68</c:v>
                </c:pt>
                <c:pt idx="796">
                  <c:v>30.259999999999998</c:v>
                </c:pt>
                <c:pt idx="797">
                  <c:v>31.1</c:v>
                </c:pt>
                <c:pt idx="798">
                  <c:v>31.929999999999993</c:v>
                </c:pt>
                <c:pt idx="799">
                  <c:v>35.141092366483363</c:v>
                </c:pt>
                <c:pt idx="800">
                  <c:v>35.594750144703838</c:v>
                </c:pt>
                <c:pt idx="801">
                  <c:v>35.899934786066488</c:v>
                </c:pt>
                <c:pt idx="802">
                  <c:v>36.131066098081021</c:v>
                </c:pt>
                <c:pt idx="803">
                  <c:v>34.917700427960057</c:v>
                </c:pt>
                <c:pt idx="804">
                  <c:v>33.637837473522048</c:v>
                </c:pt>
                <c:pt idx="805">
                  <c:v>34.664096451946257</c:v>
                </c:pt>
                <c:pt idx="806">
                  <c:v>33.299999999999997</c:v>
                </c:pt>
                <c:pt idx="807">
                  <c:v>33.369999999999997</c:v>
                </c:pt>
                <c:pt idx="808">
                  <c:v>36.164641503474414</c:v>
                </c:pt>
                <c:pt idx="809">
                  <c:v>41.803764067363716</c:v>
                </c:pt>
                <c:pt idx="810">
                  <c:v>38.834783047426846</c:v>
                </c:pt>
                <c:pt idx="811">
                  <c:v>33.552850790175818</c:v>
                </c:pt>
                <c:pt idx="812">
                  <c:v>32</c:v>
                </c:pt>
                <c:pt idx="813">
                  <c:v>31.36</c:v>
                </c:pt>
                <c:pt idx="814">
                  <c:v>30.99</c:v>
                </c:pt>
                <c:pt idx="815">
                  <c:v>30.68</c:v>
                </c:pt>
                <c:pt idx="816">
                  <c:v>21.209521912350596</c:v>
                </c:pt>
                <c:pt idx="817">
                  <c:v>30.38</c:v>
                </c:pt>
                <c:pt idx="818">
                  <c:v>30.140000000000004</c:v>
                </c:pt>
                <c:pt idx="819">
                  <c:v>30.03</c:v>
                </c:pt>
                <c:pt idx="820">
                  <c:v>30.21</c:v>
                </c:pt>
                <c:pt idx="821">
                  <c:v>30.4</c:v>
                </c:pt>
                <c:pt idx="822">
                  <c:v>30.739999999999995</c:v>
                </c:pt>
                <c:pt idx="823">
                  <c:v>31.06</c:v>
                </c:pt>
                <c:pt idx="824">
                  <c:v>31.539999999999996</c:v>
                </c:pt>
                <c:pt idx="825">
                  <c:v>32.39</c:v>
                </c:pt>
                <c:pt idx="826">
                  <c:v>33.019999999999996</c:v>
                </c:pt>
                <c:pt idx="827">
                  <c:v>33.11</c:v>
                </c:pt>
                <c:pt idx="828">
                  <c:v>32.710000000000008</c:v>
                </c:pt>
                <c:pt idx="829">
                  <c:v>32.550000000000004</c:v>
                </c:pt>
                <c:pt idx="830">
                  <c:v>32.36</c:v>
                </c:pt>
                <c:pt idx="831">
                  <c:v>32.79</c:v>
                </c:pt>
                <c:pt idx="832">
                  <c:v>33.67</c:v>
                </c:pt>
                <c:pt idx="833">
                  <c:v>35.430545023696681</c:v>
                </c:pt>
                <c:pt idx="834">
                  <c:v>34.230358347386172</c:v>
                </c:pt>
                <c:pt idx="835">
                  <c:v>33.659999999999997</c:v>
                </c:pt>
                <c:pt idx="836">
                  <c:v>32.649999999999991</c:v>
                </c:pt>
                <c:pt idx="837">
                  <c:v>31.940000000000005</c:v>
                </c:pt>
                <c:pt idx="838">
                  <c:v>31.45</c:v>
                </c:pt>
                <c:pt idx="839">
                  <c:v>30.9</c:v>
                </c:pt>
                <c:pt idx="840">
                  <c:v>31.000000000000004</c:v>
                </c:pt>
                <c:pt idx="841">
                  <c:v>30.849999999999998</c:v>
                </c:pt>
                <c:pt idx="842">
                  <c:v>30.64</c:v>
                </c:pt>
                <c:pt idx="843">
                  <c:v>30.43</c:v>
                </c:pt>
                <c:pt idx="844">
                  <c:v>30.469999999999995</c:v>
                </c:pt>
                <c:pt idx="845">
                  <c:v>30.619999999999997</c:v>
                </c:pt>
                <c:pt idx="846">
                  <c:v>30.9</c:v>
                </c:pt>
                <c:pt idx="847">
                  <c:v>31.429999999999996</c:v>
                </c:pt>
                <c:pt idx="848">
                  <c:v>31.389999999999997</c:v>
                </c:pt>
                <c:pt idx="849">
                  <c:v>31.879999999999995</c:v>
                </c:pt>
                <c:pt idx="850">
                  <c:v>32.159999999999997</c:v>
                </c:pt>
                <c:pt idx="851">
                  <c:v>32.29</c:v>
                </c:pt>
                <c:pt idx="852">
                  <c:v>32.100000000000009</c:v>
                </c:pt>
                <c:pt idx="853">
                  <c:v>32.01</c:v>
                </c:pt>
                <c:pt idx="854">
                  <c:v>31.910000000000004</c:v>
                </c:pt>
                <c:pt idx="855">
                  <c:v>31.960000000000004</c:v>
                </c:pt>
                <c:pt idx="856">
                  <c:v>32.799999999999997</c:v>
                </c:pt>
                <c:pt idx="857">
                  <c:v>33.79</c:v>
                </c:pt>
                <c:pt idx="858">
                  <c:v>33.729999999999997</c:v>
                </c:pt>
                <c:pt idx="859">
                  <c:v>32.909999999999997</c:v>
                </c:pt>
                <c:pt idx="860">
                  <c:v>31.93</c:v>
                </c:pt>
                <c:pt idx="861">
                  <c:v>31.759999999999998</c:v>
                </c:pt>
                <c:pt idx="862">
                  <c:v>31.25</c:v>
                </c:pt>
                <c:pt idx="863">
                  <c:v>30.740000000000002</c:v>
                </c:pt>
                <c:pt idx="864">
                  <c:v>30.589999999999993</c:v>
                </c:pt>
                <c:pt idx="865">
                  <c:v>30.019999999999996</c:v>
                </c:pt>
                <c:pt idx="866">
                  <c:v>29.82</c:v>
                </c:pt>
                <c:pt idx="867">
                  <c:v>30.099999999999998</c:v>
                </c:pt>
                <c:pt idx="868">
                  <c:v>30.919999999999998</c:v>
                </c:pt>
                <c:pt idx="869">
                  <c:v>31.440000000000005</c:v>
                </c:pt>
                <c:pt idx="870">
                  <c:v>32.6</c:v>
                </c:pt>
                <c:pt idx="871">
                  <c:v>35.786896502498216</c:v>
                </c:pt>
                <c:pt idx="872">
                  <c:v>36.465404666700415</c:v>
                </c:pt>
                <c:pt idx="873">
                  <c:v>36.507715150809368</c:v>
                </c:pt>
                <c:pt idx="874">
                  <c:v>36.519948590573009</c:v>
                </c:pt>
                <c:pt idx="875">
                  <c:v>35.57752915047196</c:v>
                </c:pt>
                <c:pt idx="876">
                  <c:v>34.106495853710399</c:v>
                </c:pt>
                <c:pt idx="877">
                  <c:v>34.904581219536468</c:v>
                </c:pt>
                <c:pt idx="878">
                  <c:v>34.022632262084002</c:v>
                </c:pt>
                <c:pt idx="879">
                  <c:v>34.100838969404187</c:v>
                </c:pt>
                <c:pt idx="880">
                  <c:v>35.539762976623095</c:v>
                </c:pt>
                <c:pt idx="881">
                  <c:v>38.537522082990961</c:v>
                </c:pt>
                <c:pt idx="882">
                  <c:v>37.734759650025737</c:v>
                </c:pt>
                <c:pt idx="883">
                  <c:v>34.160590216069593</c:v>
                </c:pt>
                <c:pt idx="884">
                  <c:v>33.31</c:v>
                </c:pt>
                <c:pt idx="885">
                  <c:v>32.130000000000003</c:v>
                </c:pt>
                <c:pt idx="886">
                  <c:v>31.62</c:v>
                </c:pt>
                <c:pt idx="887">
                  <c:v>31.020000000000003</c:v>
                </c:pt>
                <c:pt idx="888">
                  <c:v>31.11</c:v>
                </c:pt>
                <c:pt idx="889">
                  <c:v>30.959999999999997</c:v>
                </c:pt>
                <c:pt idx="890">
                  <c:v>30.9</c:v>
                </c:pt>
                <c:pt idx="891">
                  <c:v>30.94</c:v>
                </c:pt>
                <c:pt idx="892">
                  <c:v>31.429999999999996</c:v>
                </c:pt>
                <c:pt idx="893">
                  <c:v>32.180342575119752</c:v>
                </c:pt>
                <c:pt idx="894">
                  <c:v>32.740007540124232</c:v>
                </c:pt>
                <c:pt idx="895">
                  <c:v>38.223302254383526</c:v>
                </c:pt>
                <c:pt idx="896">
                  <c:v>37.964914743224689</c:v>
                </c:pt>
                <c:pt idx="897">
                  <c:v>37.453415164255681</c:v>
                </c:pt>
                <c:pt idx="898">
                  <c:v>36.014709064520389</c:v>
                </c:pt>
                <c:pt idx="899">
                  <c:v>35.474238423087805</c:v>
                </c:pt>
                <c:pt idx="900">
                  <c:v>34.555239906192561</c:v>
                </c:pt>
                <c:pt idx="901">
                  <c:v>35.628374329628194</c:v>
                </c:pt>
                <c:pt idx="902">
                  <c:v>34.744868316041504</c:v>
                </c:pt>
                <c:pt idx="903">
                  <c:v>34.453820784936354</c:v>
                </c:pt>
                <c:pt idx="904">
                  <c:v>35.99844595158018</c:v>
                </c:pt>
                <c:pt idx="905">
                  <c:v>39.369743829366172</c:v>
                </c:pt>
                <c:pt idx="906">
                  <c:v>38.713881552296847</c:v>
                </c:pt>
                <c:pt idx="907">
                  <c:v>35.41408335817458</c:v>
                </c:pt>
                <c:pt idx="908">
                  <c:v>33.716138366178399</c:v>
                </c:pt>
                <c:pt idx="909">
                  <c:v>32.925379798606606</c:v>
                </c:pt>
                <c:pt idx="910">
                  <c:v>32.339292378152216</c:v>
                </c:pt>
                <c:pt idx="911">
                  <c:v>31.88</c:v>
                </c:pt>
                <c:pt idx="912">
                  <c:v>31.54</c:v>
                </c:pt>
                <c:pt idx="913">
                  <c:v>31.24</c:v>
                </c:pt>
                <c:pt idx="914">
                  <c:v>31.16</c:v>
                </c:pt>
                <c:pt idx="915">
                  <c:v>31.19</c:v>
                </c:pt>
                <c:pt idx="916">
                  <c:v>31.77</c:v>
                </c:pt>
                <c:pt idx="917">
                  <c:v>32.55859093996925</c:v>
                </c:pt>
                <c:pt idx="918">
                  <c:v>34.103085560538112</c:v>
                </c:pt>
                <c:pt idx="919">
                  <c:v>36.861678694222995</c:v>
                </c:pt>
                <c:pt idx="920">
                  <c:v>39.308776769779897</c:v>
                </c:pt>
                <c:pt idx="921">
                  <c:v>37.896908446409512</c:v>
                </c:pt>
                <c:pt idx="922">
                  <c:v>36.841350212572124</c:v>
                </c:pt>
                <c:pt idx="923">
                  <c:v>35.63131432255129</c:v>
                </c:pt>
                <c:pt idx="924">
                  <c:v>35.075240661726177</c:v>
                </c:pt>
                <c:pt idx="925">
                  <c:v>35.64194698776641</c:v>
                </c:pt>
                <c:pt idx="926">
                  <c:v>35.123761893339733</c:v>
                </c:pt>
                <c:pt idx="927">
                  <c:v>34.905317783278093</c:v>
                </c:pt>
                <c:pt idx="928">
                  <c:v>35.457587172308479</c:v>
                </c:pt>
                <c:pt idx="929">
                  <c:v>38.521904106643731</c:v>
                </c:pt>
                <c:pt idx="930">
                  <c:v>38.116205988234263</c:v>
                </c:pt>
                <c:pt idx="931">
                  <c:v>35.734101324364097</c:v>
                </c:pt>
                <c:pt idx="932">
                  <c:v>34.811901411566879</c:v>
                </c:pt>
                <c:pt idx="933">
                  <c:v>34.193300483274903</c:v>
                </c:pt>
                <c:pt idx="934">
                  <c:v>33.723460877713578</c:v>
                </c:pt>
                <c:pt idx="935">
                  <c:v>33.169999999999995</c:v>
                </c:pt>
                <c:pt idx="936">
                  <c:v>32.49</c:v>
                </c:pt>
                <c:pt idx="937">
                  <c:v>32.340000000000003</c:v>
                </c:pt>
                <c:pt idx="938">
                  <c:v>32.25</c:v>
                </c:pt>
                <c:pt idx="939">
                  <c:v>32.369999999999997</c:v>
                </c:pt>
                <c:pt idx="940">
                  <c:v>33.24</c:v>
                </c:pt>
                <c:pt idx="941">
                  <c:v>33.419999999999995</c:v>
                </c:pt>
                <c:pt idx="942">
                  <c:v>37.080000000000005</c:v>
                </c:pt>
                <c:pt idx="943">
                  <c:v>57.17</c:v>
                </c:pt>
                <c:pt idx="944">
                  <c:v>65.42</c:v>
                </c:pt>
                <c:pt idx="945">
                  <c:v>64.91</c:v>
                </c:pt>
                <c:pt idx="946">
                  <c:v>64.67</c:v>
                </c:pt>
                <c:pt idx="947">
                  <c:v>51.14</c:v>
                </c:pt>
                <c:pt idx="948">
                  <c:v>50.189999999999991</c:v>
                </c:pt>
                <c:pt idx="949">
                  <c:v>55.83</c:v>
                </c:pt>
                <c:pt idx="950">
                  <c:v>48.76195550771439</c:v>
                </c:pt>
                <c:pt idx="951">
                  <c:v>48.73295916783109</c:v>
                </c:pt>
                <c:pt idx="952">
                  <c:v>57.13000000000001</c:v>
                </c:pt>
                <c:pt idx="953">
                  <c:v>63.592978322337416</c:v>
                </c:pt>
                <c:pt idx="954">
                  <c:v>58.165708171999185</c:v>
                </c:pt>
                <c:pt idx="955">
                  <c:v>45.35</c:v>
                </c:pt>
                <c:pt idx="956">
                  <c:v>35.571807531380756</c:v>
                </c:pt>
                <c:pt idx="957">
                  <c:v>34.469028340080975</c:v>
                </c:pt>
                <c:pt idx="958">
                  <c:v>33.58</c:v>
                </c:pt>
                <c:pt idx="959">
                  <c:v>32.630000000000003</c:v>
                </c:pt>
                <c:pt idx="960">
                  <c:v>33.080000000000005</c:v>
                </c:pt>
                <c:pt idx="961">
                  <c:v>32.67</c:v>
                </c:pt>
                <c:pt idx="962">
                  <c:v>32.43</c:v>
                </c:pt>
                <c:pt idx="963">
                  <c:v>32.31</c:v>
                </c:pt>
                <c:pt idx="964">
                  <c:v>32.550000000000004</c:v>
                </c:pt>
                <c:pt idx="965">
                  <c:v>33.4</c:v>
                </c:pt>
                <c:pt idx="966">
                  <c:v>34.201491391344817</c:v>
                </c:pt>
                <c:pt idx="967">
                  <c:v>39.650355956068708</c:v>
                </c:pt>
                <c:pt idx="968">
                  <c:v>41.205206048344166</c:v>
                </c:pt>
                <c:pt idx="969">
                  <c:v>38.293514784946233</c:v>
                </c:pt>
                <c:pt idx="970">
                  <c:v>38.275609243697481</c:v>
                </c:pt>
                <c:pt idx="971">
                  <c:v>35.988924283462019</c:v>
                </c:pt>
                <c:pt idx="972">
                  <c:v>35.231208312449397</c:v>
                </c:pt>
                <c:pt idx="973">
                  <c:v>34.887420822458914</c:v>
                </c:pt>
                <c:pt idx="974">
                  <c:v>34.58937527889335</c:v>
                </c:pt>
                <c:pt idx="975">
                  <c:v>34.216281434911245</c:v>
                </c:pt>
                <c:pt idx="976">
                  <c:v>34.482681332111213</c:v>
                </c:pt>
                <c:pt idx="977">
                  <c:v>35.147938270847398</c:v>
                </c:pt>
                <c:pt idx="978">
                  <c:v>34.753014262467694</c:v>
                </c:pt>
                <c:pt idx="979">
                  <c:v>33.934584136106849</c:v>
                </c:pt>
                <c:pt idx="980">
                  <c:v>33.46</c:v>
                </c:pt>
                <c:pt idx="981">
                  <c:v>33.199999999999996</c:v>
                </c:pt>
                <c:pt idx="982">
                  <c:v>32.85</c:v>
                </c:pt>
                <c:pt idx="983">
                  <c:v>32.109999999999992</c:v>
                </c:pt>
                <c:pt idx="984">
                  <c:v>32.03</c:v>
                </c:pt>
                <c:pt idx="985">
                  <c:v>31.700000000000003</c:v>
                </c:pt>
                <c:pt idx="986">
                  <c:v>31.42</c:v>
                </c:pt>
                <c:pt idx="987">
                  <c:v>31.260000000000005</c:v>
                </c:pt>
                <c:pt idx="988">
                  <c:v>31.35</c:v>
                </c:pt>
                <c:pt idx="989">
                  <c:v>31.660000000000004</c:v>
                </c:pt>
                <c:pt idx="990">
                  <c:v>31.87</c:v>
                </c:pt>
                <c:pt idx="991">
                  <c:v>32.03</c:v>
                </c:pt>
                <c:pt idx="992">
                  <c:v>32.189999999999991</c:v>
                </c:pt>
                <c:pt idx="993">
                  <c:v>32.75</c:v>
                </c:pt>
                <c:pt idx="994">
                  <c:v>32.940000000000005</c:v>
                </c:pt>
                <c:pt idx="995">
                  <c:v>32.61</c:v>
                </c:pt>
                <c:pt idx="996">
                  <c:v>32.299999999999997</c:v>
                </c:pt>
                <c:pt idx="997">
                  <c:v>32.130000000000003</c:v>
                </c:pt>
                <c:pt idx="998">
                  <c:v>32.01</c:v>
                </c:pt>
                <c:pt idx="999">
                  <c:v>32.07</c:v>
                </c:pt>
                <c:pt idx="1000">
                  <c:v>32.32</c:v>
                </c:pt>
                <c:pt idx="1001">
                  <c:v>33.370644190083546</c:v>
                </c:pt>
                <c:pt idx="1002">
                  <c:v>33.448006128133699</c:v>
                </c:pt>
                <c:pt idx="1003">
                  <c:v>32.97</c:v>
                </c:pt>
                <c:pt idx="1004">
                  <c:v>32.5</c:v>
                </c:pt>
                <c:pt idx="1005">
                  <c:v>32.460000000000008</c:v>
                </c:pt>
                <c:pt idx="1006">
                  <c:v>32.200000000000003</c:v>
                </c:pt>
                <c:pt idx="1007">
                  <c:v>31.86</c:v>
                </c:pt>
                <c:pt idx="1008">
                  <c:v>31.430000000000003</c:v>
                </c:pt>
                <c:pt idx="1009">
                  <c:v>31.06</c:v>
                </c:pt>
                <c:pt idx="1010">
                  <c:v>30.399999999999995</c:v>
                </c:pt>
                <c:pt idx="1011">
                  <c:v>30.41</c:v>
                </c:pt>
                <c:pt idx="1012">
                  <c:v>29.780000000000005</c:v>
                </c:pt>
                <c:pt idx="1013">
                  <c:v>29.88</c:v>
                </c:pt>
                <c:pt idx="1014">
                  <c:v>30.360000000000003</c:v>
                </c:pt>
                <c:pt idx="1015">
                  <c:v>30.491562628336759</c:v>
                </c:pt>
                <c:pt idx="1016">
                  <c:v>31.69</c:v>
                </c:pt>
                <c:pt idx="1017">
                  <c:v>32.29</c:v>
                </c:pt>
                <c:pt idx="1018">
                  <c:v>32.57</c:v>
                </c:pt>
                <c:pt idx="1019">
                  <c:v>32.5</c:v>
                </c:pt>
                <c:pt idx="1020">
                  <c:v>31.438208387215962</c:v>
                </c:pt>
                <c:pt idx="1021">
                  <c:v>30.906742383752007</c:v>
                </c:pt>
                <c:pt idx="1022">
                  <c:v>30.259808634288088</c:v>
                </c:pt>
                <c:pt idx="1023">
                  <c:v>30.9347870127521</c:v>
                </c:pt>
                <c:pt idx="1024">
                  <c:v>32.139999999999993</c:v>
                </c:pt>
                <c:pt idx="1025">
                  <c:v>35.026253014689757</c:v>
                </c:pt>
                <c:pt idx="1026">
                  <c:v>34.235359295876542</c:v>
                </c:pt>
                <c:pt idx="1027">
                  <c:v>34.043588079079377</c:v>
                </c:pt>
                <c:pt idx="1028">
                  <c:v>32.92</c:v>
                </c:pt>
                <c:pt idx="1029">
                  <c:v>32.32</c:v>
                </c:pt>
                <c:pt idx="1030">
                  <c:v>32.389999999999993</c:v>
                </c:pt>
                <c:pt idx="1031">
                  <c:v>31.350000000000005</c:v>
                </c:pt>
                <c:pt idx="1032">
                  <c:v>28.829999999999995</c:v>
                </c:pt>
                <c:pt idx="1033">
                  <c:v>29.68</c:v>
                </c:pt>
                <c:pt idx="1034">
                  <c:v>30.370000000000005</c:v>
                </c:pt>
                <c:pt idx="1035">
                  <c:v>29.83</c:v>
                </c:pt>
                <c:pt idx="1036">
                  <c:v>30.76</c:v>
                </c:pt>
                <c:pt idx="1037">
                  <c:v>32.22</c:v>
                </c:pt>
                <c:pt idx="1038">
                  <c:v>33.919121871153052</c:v>
                </c:pt>
                <c:pt idx="1039">
                  <c:v>39.441055888223552</c:v>
                </c:pt>
                <c:pt idx="1040">
                  <c:v>41.877121019108287</c:v>
                </c:pt>
                <c:pt idx="1041">
                  <c:v>40.270969837586996</c:v>
                </c:pt>
                <c:pt idx="1042">
                  <c:v>38.265778698513287</c:v>
                </c:pt>
                <c:pt idx="1043">
                  <c:v>35.860975219824148</c:v>
                </c:pt>
                <c:pt idx="1044">
                  <c:v>34.096538821328338</c:v>
                </c:pt>
                <c:pt idx="1045">
                  <c:v>33.609824561403506</c:v>
                </c:pt>
                <c:pt idx="1046">
                  <c:v>34.464672353625438</c:v>
                </c:pt>
                <c:pt idx="1047">
                  <c:v>36.128593261549149</c:v>
                </c:pt>
                <c:pt idx="1048">
                  <c:v>37.473052294557093</c:v>
                </c:pt>
                <c:pt idx="1049">
                  <c:v>40.482017844886755</c:v>
                </c:pt>
                <c:pt idx="1050">
                  <c:v>38.018389882788398</c:v>
                </c:pt>
                <c:pt idx="1051">
                  <c:v>34.848116504854367</c:v>
                </c:pt>
                <c:pt idx="1052">
                  <c:v>34.032960128876361</c:v>
                </c:pt>
                <c:pt idx="1053">
                  <c:v>32.840000000000003</c:v>
                </c:pt>
                <c:pt idx="1054">
                  <c:v>32.19</c:v>
                </c:pt>
                <c:pt idx="1055">
                  <c:v>31.51</c:v>
                </c:pt>
                <c:pt idx="1056">
                  <c:v>30.49</c:v>
                </c:pt>
                <c:pt idx="1057">
                  <c:v>30.030000000000005</c:v>
                </c:pt>
                <c:pt idx="1058">
                  <c:v>30.100000000000005</c:v>
                </c:pt>
                <c:pt idx="1059">
                  <c:v>30.14</c:v>
                </c:pt>
                <c:pt idx="1060">
                  <c:v>30.62</c:v>
                </c:pt>
                <c:pt idx="1061">
                  <c:v>31.660000000000004</c:v>
                </c:pt>
                <c:pt idx="1062">
                  <c:v>33.267567156614291</c:v>
                </c:pt>
                <c:pt idx="1063">
                  <c:v>37.194214223002632</c:v>
                </c:pt>
                <c:pt idx="1064">
                  <c:v>38.961108452950555</c:v>
                </c:pt>
                <c:pt idx="1065">
                  <c:v>37.41765597462107</c:v>
                </c:pt>
                <c:pt idx="1066">
                  <c:v>34.0124</c:v>
                </c:pt>
                <c:pt idx="1067">
                  <c:v>33.588013902681233</c:v>
                </c:pt>
                <c:pt idx="1068">
                  <c:v>33.397577706323673</c:v>
                </c:pt>
                <c:pt idx="1069">
                  <c:v>33.581279035577772</c:v>
                </c:pt>
                <c:pt idx="1070">
                  <c:v>33.427952973720608</c:v>
                </c:pt>
                <c:pt idx="1071">
                  <c:v>33.413681183237472</c:v>
                </c:pt>
                <c:pt idx="1072">
                  <c:v>33.490784313725484</c:v>
                </c:pt>
                <c:pt idx="1073">
                  <c:v>38.896225304749898</c:v>
                </c:pt>
                <c:pt idx="1074">
                  <c:v>38.111426197310777</c:v>
                </c:pt>
                <c:pt idx="1075">
                  <c:v>36.81554549035053</c:v>
                </c:pt>
                <c:pt idx="1076">
                  <c:v>34.441390802981296</c:v>
                </c:pt>
                <c:pt idx="1077">
                  <c:v>33.510362793235139</c:v>
                </c:pt>
                <c:pt idx="1078">
                  <c:v>33.04</c:v>
                </c:pt>
                <c:pt idx="1079">
                  <c:v>32.17</c:v>
                </c:pt>
                <c:pt idx="1080">
                  <c:v>32.11</c:v>
                </c:pt>
                <c:pt idx="1081">
                  <c:v>32.21</c:v>
                </c:pt>
                <c:pt idx="1082">
                  <c:v>32.32</c:v>
                </c:pt>
                <c:pt idx="1083">
                  <c:v>32.44</c:v>
                </c:pt>
                <c:pt idx="1084">
                  <c:v>33.92</c:v>
                </c:pt>
                <c:pt idx="1085">
                  <c:v>37.080000000000005</c:v>
                </c:pt>
                <c:pt idx="1086">
                  <c:v>43.639999999999993</c:v>
                </c:pt>
                <c:pt idx="1087">
                  <c:v>61.480000000000004</c:v>
                </c:pt>
                <c:pt idx="1088">
                  <c:v>63.319999999999993</c:v>
                </c:pt>
                <c:pt idx="1089">
                  <c:v>59.3</c:v>
                </c:pt>
                <c:pt idx="1090">
                  <c:v>55.69</c:v>
                </c:pt>
                <c:pt idx="1091">
                  <c:v>39.659999999999997</c:v>
                </c:pt>
                <c:pt idx="1092">
                  <c:v>37.349999999999994</c:v>
                </c:pt>
                <c:pt idx="1093">
                  <c:v>38.079999999999991</c:v>
                </c:pt>
                <c:pt idx="1094">
                  <c:v>44.13</c:v>
                </c:pt>
                <c:pt idx="1095">
                  <c:v>43.02000000000001</c:v>
                </c:pt>
                <c:pt idx="1096">
                  <c:v>49.08</c:v>
                </c:pt>
                <c:pt idx="1097">
                  <c:v>59.16</c:v>
                </c:pt>
                <c:pt idx="1098">
                  <c:v>62.050000000000004</c:v>
                </c:pt>
                <c:pt idx="1099">
                  <c:v>43.809999999999995</c:v>
                </c:pt>
                <c:pt idx="1100">
                  <c:v>38.070000000000007</c:v>
                </c:pt>
                <c:pt idx="1101">
                  <c:v>35.28</c:v>
                </c:pt>
                <c:pt idx="1102">
                  <c:v>32.450000000000003</c:v>
                </c:pt>
                <c:pt idx="1103">
                  <c:v>31.38</c:v>
                </c:pt>
                <c:pt idx="1104">
                  <c:v>30.5</c:v>
                </c:pt>
                <c:pt idx="1105">
                  <c:v>30.33</c:v>
                </c:pt>
                <c:pt idx="1106">
                  <c:v>30.239999999999995</c:v>
                </c:pt>
                <c:pt idx="1107">
                  <c:v>30.5</c:v>
                </c:pt>
                <c:pt idx="1108">
                  <c:v>30.550000000000004</c:v>
                </c:pt>
                <c:pt idx="1109">
                  <c:v>31.209999999999997</c:v>
                </c:pt>
                <c:pt idx="1110">
                  <c:v>31.63</c:v>
                </c:pt>
                <c:pt idx="1111">
                  <c:v>33.994557663611168</c:v>
                </c:pt>
                <c:pt idx="1112">
                  <c:v>34.519463652906808</c:v>
                </c:pt>
                <c:pt idx="1113">
                  <c:v>32.520000000000003</c:v>
                </c:pt>
                <c:pt idx="1114">
                  <c:v>32.270000000000003</c:v>
                </c:pt>
                <c:pt idx="1115">
                  <c:v>32.03</c:v>
                </c:pt>
                <c:pt idx="1116">
                  <c:v>31.949999999999996</c:v>
                </c:pt>
                <c:pt idx="1117">
                  <c:v>31.94</c:v>
                </c:pt>
                <c:pt idx="1118">
                  <c:v>31.879999999999995</c:v>
                </c:pt>
                <c:pt idx="1119">
                  <c:v>31.759999999999998</c:v>
                </c:pt>
                <c:pt idx="1120">
                  <c:v>31.91</c:v>
                </c:pt>
                <c:pt idx="1121">
                  <c:v>32.44</c:v>
                </c:pt>
                <c:pt idx="1122">
                  <c:v>32.42</c:v>
                </c:pt>
                <c:pt idx="1123">
                  <c:v>31.97</c:v>
                </c:pt>
                <c:pt idx="1124">
                  <c:v>31.570000000000004</c:v>
                </c:pt>
                <c:pt idx="1125">
                  <c:v>31.299999999999997</c:v>
                </c:pt>
                <c:pt idx="1126">
                  <c:v>30.93</c:v>
                </c:pt>
                <c:pt idx="1127">
                  <c:v>30.100000000000005</c:v>
                </c:pt>
                <c:pt idx="1128">
                  <c:v>29.42</c:v>
                </c:pt>
                <c:pt idx="1129">
                  <c:v>28.63</c:v>
                </c:pt>
                <c:pt idx="1130">
                  <c:v>29.250047961630695</c:v>
                </c:pt>
                <c:pt idx="1131">
                  <c:v>29.386084507042256</c:v>
                </c:pt>
                <c:pt idx="1132">
                  <c:v>29.999999999999996</c:v>
                </c:pt>
                <c:pt idx="1133">
                  <c:v>30.75</c:v>
                </c:pt>
                <c:pt idx="1134">
                  <c:v>31.610000000000007</c:v>
                </c:pt>
                <c:pt idx="1135">
                  <c:v>32.24</c:v>
                </c:pt>
                <c:pt idx="1136">
                  <c:v>32.83</c:v>
                </c:pt>
                <c:pt idx="1137">
                  <c:v>32.51</c:v>
                </c:pt>
                <c:pt idx="1138">
                  <c:v>32.42</c:v>
                </c:pt>
                <c:pt idx="1139">
                  <c:v>32.18</c:v>
                </c:pt>
                <c:pt idx="1140">
                  <c:v>32.04</c:v>
                </c:pt>
                <c:pt idx="1141">
                  <c:v>32</c:v>
                </c:pt>
                <c:pt idx="1142">
                  <c:v>31.89</c:v>
                </c:pt>
                <c:pt idx="1143">
                  <c:v>31.569999999999997</c:v>
                </c:pt>
                <c:pt idx="1144">
                  <c:v>31.71</c:v>
                </c:pt>
                <c:pt idx="1145">
                  <c:v>32.08</c:v>
                </c:pt>
                <c:pt idx="1146">
                  <c:v>32.200000000000003</c:v>
                </c:pt>
                <c:pt idx="1147">
                  <c:v>31.81</c:v>
                </c:pt>
                <c:pt idx="1148">
                  <c:v>31.1</c:v>
                </c:pt>
                <c:pt idx="1149">
                  <c:v>30.849999999999998</c:v>
                </c:pt>
                <c:pt idx="1150">
                  <c:v>30.82</c:v>
                </c:pt>
                <c:pt idx="1151">
                  <c:v>30.470000000000002</c:v>
                </c:pt>
                <c:pt idx="1152">
                  <c:v>30.099999999999998</c:v>
                </c:pt>
                <c:pt idx="1153">
                  <c:v>30.01</c:v>
                </c:pt>
                <c:pt idx="1154">
                  <c:v>29.54</c:v>
                </c:pt>
                <c:pt idx="1155">
                  <c:v>29.86</c:v>
                </c:pt>
                <c:pt idx="1156">
                  <c:v>30.04</c:v>
                </c:pt>
                <c:pt idx="1157">
                  <c:v>30.25</c:v>
                </c:pt>
                <c:pt idx="1158">
                  <c:v>30.159999999999997</c:v>
                </c:pt>
                <c:pt idx="1159">
                  <c:v>30.5</c:v>
                </c:pt>
                <c:pt idx="1160">
                  <c:v>30.769999999999996</c:v>
                </c:pt>
                <c:pt idx="1161">
                  <c:v>31.09</c:v>
                </c:pt>
                <c:pt idx="1162">
                  <c:v>31.330000000000002</c:v>
                </c:pt>
                <c:pt idx="1163">
                  <c:v>31.09</c:v>
                </c:pt>
                <c:pt idx="1164">
                  <c:v>30.78</c:v>
                </c:pt>
                <c:pt idx="1165">
                  <c:v>30.58</c:v>
                </c:pt>
                <c:pt idx="1166">
                  <c:v>30.26</c:v>
                </c:pt>
                <c:pt idx="1167">
                  <c:v>30.120000000000005</c:v>
                </c:pt>
                <c:pt idx="1168">
                  <c:v>30.400000000000002</c:v>
                </c:pt>
                <c:pt idx="1169">
                  <c:v>30.920000000000005</c:v>
                </c:pt>
                <c:pt idx="1170">
                  <c:v>30.94</c:v>
                </c:pt>
                <c:pt idx="1171">
                  <c:v>30.669999999999998</c:v>
                </c:pt>
                <c:pt idx="1172">
                  <c:v>30.06</c:v>
                </c:pt>
                <c:pt idx="1173">
                  <c:v>29.700000000000003</c:v>
                </c:pt>
                <c:pt idx="1174">
                  <c:v>28.91</c:v>
                </c:pt>
                <c:pt idx="1175">
                  <c:v>25.64</c:v>
                </c:pt>
                <c:pt idx="1176">
                  <c:v>4.430279329608938</c:v>
                </c:pt>
                <c:pt idx="1177">
                  <c:v>4.3561648624267031</c:v>
                </c:pt>
                <c:pt idx="1178">
                  <c:v>2.3888181341719079</c:v>
                </c:pt>
                <c:pt idx="1179">
                  <c:v>1.9591604312731985</c:v>
                </c:pt>
                <c:pt idx="1180">
                  <c:v>1.8394058037770615</c:v>
                </c:pt>
                <c:pt idx="1181">
                  <c:v>10.130000000000001</c:v>
                </c:pt>
                <c:pt idx="1182">
                  <c:v>10.3</c:v>
                </c:pt>
                <c:pt idx="1183">
                  <c:v>18.12</c:v>
                </c:pt>
                <c:pt idx="1184">
                  <c:v>25.469999999999995</c:v>
                </c:pt>
                <c:pt idx="1185">
                  <c:v>29.59</c:v>
                </c:pt>
                <c:pt idx="1186">
                  <c:v>29.82</c:v>
                </c:pt>
                <c:pt idx="1187">
                  <c:v>30.669999999999998</c:v>
                </c:pt>
                <c:pt idx="1188">
                  <c:v>30.169999999999998</c:v>
                </c:pt>
                <c:pt idx="1189">
                  <c:v>30.44</c:v>
                </c:pt>
                <c:pt idx="1190">
                  <c:v>30.510000000000005</c:v>
                </c:pt>
                <c:pt idx="1191">
                  <c:v>30.339999999999996</c:v>
                </c:pt>
                <c:pt idx="1192">
                  <c:v>30.790000000000003</c:v>
                </c:pt>
                <c:pt idx="1193">
                  <c:v>31.489999999999995</c:v>
                </c:pt>
                <c:pt idx="1194">
                  <c:v>31.62</c:v>
                </c:pt>
                <c:pt idx="1195">
                  <c:v>31.250000000000004</c:v>
                </c:pt>
                <c:pt idx="1196">
                  <c:v>30.859999999999996</c:v>
                </c:pt>
                <c:pt idx="1197">
                  <c:v>30.58</c:v>
                </c:pt>
                <c:pt idx="1198">
                  <c:v>29.449999999999996</c:v>
                </c:pt>
                <c:pt idx="1199">
                  <c:v>22.992554968795005</c:v>
                </c:pt>
                <c:pt idx="1200">
                  <c:v>15.49</c:v>
                </c:pt>
                <c:pt idx="1201">
                  <c:v>0.49095019488956249</c:v>
                </c:pt>
                <c:pt idx="1202">
                  <c:v>5.9999999999999991E-2</c:v>
                </c:pt>
                <c:pt idx="1203">
                  <c:v>0</c:v>
                </c:pt>
                <c:pt idx="1204">
                  <c:v>2.9487869164814224</c:v>
                </c:pt>
                <c:pt idx="1205">
                  <c:v>4.693242705236103</c:v>
                </c:pt>
                <c:pt idx="1206">
                  <c:v>14.431921555855395</c:v>
                </c:pt>
                <c:pt idx="1207">
                  <c:v>30.619786667922487</c:v>
                </c:pt>
                <c:pt idx="1208">
                  <c:v>31.119999999999994</c:v>
                </c:pt>
                <c:pt idx="1209">
                  <c:v>30.782457206522839</c:v>
                </c:pt>
                <c:pt idx="1210">
                  <c:v>30.597360464521412</c:v>
                </c:pt>
                <c:pt idx="1211">
                  <c:v>30.313802954149146</c:v>
                </c:pt>
                <c:pt idx="1212">
                  <c:v>28.050755293008017</c:v>
                </c:pt>
                <c:pt idx="1213">
                  <c:v>23.788933830748086</c:v>
                </c:pt>
                <c:pt idx="1214">
                  <c:v>30.860000000000003</c:v>
                </c:pt>
                <c:pt idx="1215">
                  <c:v>29.216875847419328</c:v>
                </c:pt>
                <c:pt idx="1216">
                  <c:v>27.178184308786811</c:v>
                </c:pt>
                <c:pt idx="1217">
                  <c:v>14.74634824932582</c:v>
                </c:pt>
                <c:pt idx="1218">
                  <c:v>14.566807731700408</c:v>
                </c:pt>
                <c:pt idx="1219">
                  <c:v>11.826425176870309</c:v>
                </c:pt>
                <c:pt idx="1220">
                  <c:v>6.2614726338070756</c:v>
                </c:pt>
                <c:pt idx="1221">
                  <c:v>4.1763949928566575</c:v>
                </c:pt>
                <c:pt idx="1222">
                  <c:v>1.8311812060148853</c:v>
                </c:pt>
                <c:pt idx="1223">
                  <c:v>-11.520328525216099</c:v>
                </c:pt>
                <c:pt idx="1224">
                  <c:v>2.8957064136658763</c:v>
                </c:pt>
                <c:pt idx="1225">
                  <c:v>10.19</c:v>
                </c:pt>
                <c:pt idx="1226">
                  <c:v>10.060000000000002</c:v>
                </c:pt>
                <c:pt idx="1227">
                  <c:v>11.120000000000001</c:v>
                </c:pt>
                <c:pt idx="1228">
                  <c:v>12.560000000000002</c:v>
                </c:pt>
                <c:pt idx="1229">
                  <c:v>25.459687117273251</c:v>
                </c:pt>
                <c:pt idx="1230">
                  <c:v>30.03</c:v>
                </c:pt>
                <c:pt idx="1231">
                  <c:v>30.97</c:v>
                </c:pt>
                <c:pt idx="1232">
                  <c:v>31.000000000000004</c:v>
                </c:pt>
                <c:pt idx="1233">
                  <c:v>30.959999999999997</c:v>
                </c:pt>
                <c:pt idx="1234">
                  <c:v>30.92</c:v>
                </c:pt>
                <c:pt idx="1235">
                  <c:v>30.79</c:v>
                </c:pt>
                <c:pt idx="1236">
                  <c:v>30.68</c:v>
                </c:pt>
                <c:pt idx="1237">
                  <c:v>30.670000000000005</c:v>
                </c:pt>
                <c:pt idx="1238">
                  <c:v>30.579999999999995</c:v>
                </c:pt>
                <c:pt idx="1239">
                  <c:v>30.700000000000003</c:v>
                </c:pt>
                <c:pt idx="1240">
                  <c:v>30.903585004450491</c:v>
                </c:pt>
                <c:pt idx="1241">
                  <c:v>31.899999999999995</c:v>
                </c:pt>
                <c:pt idx="1242">
                  <c:v>32.121076292980284</c:v>
                </c:pt>
                <c:pt idx="1243">
                  <c:v>31.970000000000002</c:v>
                </c:pt>
                <c:pt idx="1244">
                  <c:v>31.739999999999995</c:v>
                </c:pt>
                <c:pt idx="1245">
                  <c:v>31.339999999999996</c:v>
                </c:pt>
                <c:pt idx="1246">
                  <c:v>30.75</c:v>
                </c:pt>
                <c:pt idx="1247">
                  <c:v>29.9</c:v>
                </c:pt>
                <c:pt idx="1248">
                  <c:v>22.204303964493491</c:v>
                </c:pt>
                <c:pt idx="1249">
                  <c:v>10.26</c:v>
                </c:pt>
                <c:pt idx="1250">
                  <c:v>9.5</c:v>
                </c:pt>
                <c:pt idx="1251">
                  <c:v>7.66</c:v>
                </c:pt>
                <c:pt idx="1252">
                  <c:v>5.03</c:v>
                </c:pt>
                <c:pt idx="1253">
                  <c:v>7.6800000000000006</c:v>
                </c:pt>
                <c:pt idx="1254">
                  <c:v>21.83027046837206</c:v>
                </c:pt>
                <c:pt idx="1255">
                  <c:v>30.440000000000005</c:v>
                </c:pt>
                <c:pt idx="1256">
                  <c:v>30.449999999999996</c:v>
                </c:pt>
                <c:pt idx="1257">
                  <c:v>30.410000000000004</c:v>
                </c:pt>
                <c:pt idx="1258">
                  <c:v>30.260000000000005</c:v>
                </c:pt>
                <c:pt idx="1259">
                  <c:v>30.09</c:v>
                </c:pt>
                <c:pt idx="1260">
                  <c:v>30.03</c:v>
                </c:pt>
                <c:pt idx="1261">
                  <c:v>29.940000000000005</c:v>
                </c:pt>
                <c:pt idx="1262">
                  <c:v>29.940000000000005</c:v>
                </c:pt>
                <c:pt idx="1263">
                  <c:v>29.84</c:v>
                </c:pt>
                <c:pt idx="1264">
                  <c:v>29.929999999999993</c:v>
                </c:pt>
                <c:pt idx="1265">
                  <c:v>30.330000000000002</c:v>
                </c:pt>
                <c:pt idx="1266">
                  <c:v>30.440000000000005</c:v>
                </c:pt>
                <c:pt idx="1267">
                  <c:v>30.219999999999995</c:v>
                </c:pt>
                <c:pt idx="1268">
                  <c:v>29.17</c:v>
                </c:pt>
                <c:pt idx="1269">
                  <c:v>23.973300381655509</c:v>
                </c:pt>
                <c:pt idx="1270">
                  <c:v>10.26</c:v>
                </c:pt>
                <c:pt idx="1271">
                  <c:v>4.6769784579312077</c:v>
                </c:pt>
                <c:pt idx="1272">
                  <c:v>-6.5799999999999992</c:v>
                </c:pt>
                <c:pt idx="1273">
                  <c:v>-5.0299999999999994</c:v>
                </c:pt>
                <c:pt idx="1274">
                  <c:v>0.01</c:v>
                </c:pt>
                <c:pt idx="1275">
                  <c:v>0.12</c:v>
                </c:pt>
                <c:pt idx="1276">
                  <c:v>9.44</c:v>
                </c:pt>
                <c:pt idx="1277">
                  <c:v>25.53</c:v>
                </c:pt>
                <c:pt idx="1278">
                  <c:v>30.29</c:v>
                </c:pt>
                <c:pt idx="1279">
                  <c:v>31.14</c:v>
                </c:pt>
                <c:pt idx="1280">
                  <c:v>31.84</c:v>
                </c:pt>
                <c:pt idx="1281">
                  <c:v>32.06</c:v>
                </c:pt>
                <c:pt idx="1282">
                  <c:v>32.43</c:v>
                </c:pt>
                <c:pt idx="1283">
                  <c:v>32.18</c:v>
                </c:pt>
                <c:pt idx="1284">
                  <c:v>31.85</c:v>
                </c:pt>
                <c:pt idx="1285">
                  <c:v>31.689999999999998</c:v>
                </c:pt>
                <c:pt idx="1286">
                  <c:v>31.240000000000002</c:v>
                </c:pt>
                <c:pt idx="1287">
                  <c:v>30.9</c:v>
                </c:pt>
                <c:pt idx="1288">
                  <c:v>30.95</c:v>
                </c:pt>
                <c:pt idx="1289">
                  <c:v>32.03</c:v>
                </c:pt>
                <c:pt idx="1290">
                  <c:v>32.93</c:v>
                </c:pt>
                <c:pt idx="1291">
                  <c:v>32.059091715648222</c:v>
                </c:pt>
                <c:pt idx="1292">
                  <c:v>30.202809868225504</c:v>
                </c:pt>
                <c:pt idx="1293">
                  <c:v>30.119999999999997</c:v>
                </c:pt>
                <c:pt idx="1294">
                  <c:v>29.08</c:v>
                </c:pt>
                <c:pt idx="1295">
                  <c:v>10.4</c:v>
                </c:pt>
                <c:pt idx="1296">
                  <c:v>6.9299999999999988</c:v>
                </c:pt>
                <c:pt idx="1297">
                  <c:v>0</c:v>
                </c:pt>
                <c:pt idx="1298">
                  <c:v>-1.3900000000000001</c:v>
                </c:pt>
                <c:pt idx="1299">
                  <c:v>0.04</c:v>
                </c:pt>
                <c:pt idx="1300">
                  <c:v>9.0299999999999976</c:v>
                </c:pt>
                <c:pt idx="1301">
                  <c:v>28.780000000000005</c:v>
                </c:pt>
                <c:pt idx="1302">
                  <c:v>30.348833433553825</c:v>
                </c:pt>
                <c:pt idx="1303">
                  <c:v>33.15500295391886</c:v>
                </c:pt>
                <c:pt idx="1304">
                  <c:v>33.630000000000003</c:v>
                </c:pt>
                <c:pt idx="1305">
                  <c:v>33.090000000000003</c:v>
                </c:pt>
                <c:pt idx="1306">
                  <c:v>32.78</c:v>
                </c:pt>
                <c:pt idx="1307">
                  <c:v>32.39</c:v>
                </c:pt>
                <c:pt idx="1308">
                  <c:v>31.71</c:v>
                </c:pt>
                <c:pt idx="1309">
                  <c:v>31.199999999999996</c:v>
                </c:pt>
                <c:pt idx="1310">
                  <c:v>30.92</c:v>
                </c:pt>
                <c:pt idx="1311">
                  <c:v>30.830000000000002</c:v>
                </c:pt>
                <c:pt idx="1312">
                  <c:v>30.98</c:v>
                </c:pt>
                <c:pt idx="1313">
                  <c:v>31.780000000000008</c:v>
                </c:pt>
                <c:pt idx="1314">
                  <c:v>32.47</c:v>
                </c:pt>
                <c:pt idx="1315">
                  <c:v>31.85</c:v>
                </c:pt>
                <c:pt idx="1316">
                  <c:v>31.260000000000005</c:v>
                </c:pt>
                <c:pt idx="1317">
                  <c:v>31</c:v>
                </c:pt>
                <c:pt idx="1318">
                  <c:v>30.93</c:v>
                </c:pt>
                <c:pt idx="1319">
                  <c:v>30.57</c:v>
                </c:pt>
                <c:pt idx="1320">
                  <c:v>29.28</c:v>
                </c:pt>
                <c:pt idx="1321">
                  <c:v>29.09</c:v>
                </c:pt>
                <c:pt idx="1322">
                  <c:v>28.94</c:v>
                </c:pt>
                <c:pt idx="1323">
                  <c:v>29.275740233889028</c:v>
                </c:pt>
                <c:pt idx="1324">
                  <c:v>29.78728208232446</c:v>
                </c:pt>
                <c:pt idx="1325">
                  <c:v>29.530000000000005</c:v>
                </c:pt>
                <c:pt idx="1326">
                  <c:v>31.863707445981664</c:v>
                </c:pt>
                <c:pt idx="1327">
                  <c:v>30.839999999999996</c:v>
                </c:pt>
                <c:pt idx="1328">
                  <c:v>31.159999999999997</c:v>
                </c:pt>
                <c:pt idx="1329">
                  <c:v>31.46</c:v>
                </c:pt>
                <c:pt idx="1330">
                  <c:v>31.309999999999995</c:v>
                </c:pt>
                <c:pt idx="1331">
                  <c:v>31.683017133678383</c:v>
                </c:pt>
                <c:pt idx="1332">
                  <c:v>29.572870979973114</c:v>
                </c:pt>
                <c:pt idx="1333">
                  <c:v>28.01</c:v>
                </c:pt>
                <c:pt idx="1334">
                  <c:v>22.860000000000003</c:v>
                </c:pt>
                <c:pt idx="1335">
                  <c:v>28.88</c:v>
                </c:pt>
                <c:pt idx="1336">
                  <c:v>30.16</c:v>
                </c:pt>
                <c:pt idx="1337">
                  <c:v>31.010000000000005</c:v>
                </c:pt>
                <c:pt idx="1338">
                  <c:v>31.08</c:v>
                </c:pt>
                <c:pt idx="1339">
                  <c:v>30.779999999999998</c:v>
                </c:pt>
                <c:pt idx="1340">
                  <c:v>26.841578398665558</c:v>
                </c:pt>
                <c:pt idx="1341">
                  <c:v>12.94</c:v>
                </c:pt>
                <c:pt idx="1342">
                  <c:v>11.91</c:v>
                </c:pt>
                <c:pt idx="1343">
                  <c:v>8.8000000000000025</c:v>
                </c:pt>
                <c:pt idx="1344">
                  <c:v>7.830000000000001</c:v>
                </c:pt>
                <c:pt idx="1345">
                  <c:v>3</c:v>
                </c:pt>
                <c:pt idx="1346">
                  <c:v>4.6500000000000004</c:v>
                </c:pt>
                <c:pt idx="1347">
                  <c:v>7.74</c:v>
                </c:pt>
                <c:pt idx="1348">
                  <c:v>8.02</c:v>
                </c:pt>
                <c:pt idx="1349">
                  <c:v>8.9499999999999993</c:v>
                </c:pt>
                <c:pt idx="1350">
                  <c:v>7.8299999999999992</c:v>
                </c:pt>
                <c:pt idx="1351">
                  <c:v>18.36</c:v>
                </c:pt>
                <c:pt idx="1352">
                  <c:v>28.9</c:v>
                </c:pt>
                <c:pt idx="1353">
                  <c:v>29.2</c:v>
                </c:pt>
                <c:pt idx="1354">
                  <c:v>29.79</c:v>
                </c:pt>
                <c:pt idx="1355">
                  <c:v>29.75</c:v>
                </c:pt>
                <c:pt idx="1356">
                  <c:v>29.519999999999996</c:v>
                </c:pt>
                <c:pt idx="1357">
                  <c:v>29.300000000000004</c:v>
                </c:pt>
                <c:pt idx="1358">
                  <c:v>21.82</c:v>
                </c:pt>
                <c:pt idx="1359">
                  <c:v>21.81</c:v>
                </c:pt>
                <c:pt idx="1360">
                  <c:v>28.82</c:v>
                </c:pt>
                <c:pt idx="1361">
                  <c:v>30.64</c:v>
                </c:pt>
                <c:pt idx="1362">
                  <c:v>31.76</c:v>
                </c:pt>
                <c:pt idx="1363">
                  <c:v>30.96</c:v>
                </c:pt>
                <c:pt idx="1364">
                  <c:v>25.340000000000003</c:v>
                </c:pt>
                <c:pt idx="1365">
                  <c:v>23.86</c:v>
                </c:pt>
                <c:pt idx="1366">
                  <c:v>20.86</c:v>
                </c:pt>
                <c:pt idx="1367">
                  <c:v>10.35</c:v>
                </c:pt>
                <c:pt idx="1368">
                  <c:v>22.01</c:v>
                </c:pt>
                <c:pt idx="1369">
                  <c:v>15.48</c:v>
                </c:pt>
                <c:pt idx="1370">
                  <c:v>12.54</c:v>
                </c:pt>
                <c:pt idx="1371">
                  <c:v>15.59</c:v>
                </c:pt>
                <c:pt idx="1372">
                  <c:v>18.840000000000003</c:v>
                </c:pt>
                <c:pt idx="1373">
                  <c:v>30.11</c:v>
                </c:pt>
                <c:pt idx="1374">
                  <c:v>30.96</c:v>
                </c:pt>
                <c:pt idx="1375">
                  <c:v>31.93</c:v>
                </c:pt>
                <c:pt idx="1376">
                  <c:v>32.590000000000003</c:v>
                </c:pt>
                <c:pt idx="1377">
                  <c:v>32.46</c:v>
                </c:pt>
                <c:pt idx="1378">
                  <c:v>32.28</c:v>
                </c:pt>
                <c:pt idx="1379">
                  <c:v>31.77</c:v>
                </c:pt>
                <c:pt idx="1380">
                  <c:v>30.91</c:v>
                </c:pt>
                <c:pt idx="1381">
                  <c:v>30.579999999999995</c:v>
                </c:pt>
                <c:pt idx="1382">
                  <c:v>30.589999999999996</c:v>
                </c:pt>
                <c:pt idx="1383">
                  <c:v>30.829999999999995</c:v>
                </c:pt>
                <c:pt idx="1384">
                  <c:v>31.26</c:v>
                </c:pt>
                <c:pt idx="1385">
                  <c:v>31.91</c:v>
                </c:pt>
                <c:pt idx="1386">
                  <c:v>32.300000000000004</c:v>
                </c:pt>
                <c:pt idx="1387">
                  <c:v>31.680000000000007</c:v>
                </c:pt>
                <c:pt idx="1388">
                  <c:v>30.62</c:v>
                </c:pt>
                <c:pt idx="1389">
                  <c:v>27.049999999999997</c:v>
                </c:pt>
                <c:pt idx="1390">
                  <c:v>12.96</c:v>
                </c:pt>
                <c:pt idx="1391">
                  <c:v>7.95</c:v>
                </c:pt>
                <c:pt idx="1392">
                  <c:v>7.8099999999999987</c:v>
                </c:pt>
                <c:pt idx="1393">
                  <c:v>7.89</c:v>
                </c:pt>
                <c:pt idx="1394">
                  <c:v>7.86</c:v>
                </c:pt>
                <c:pt idx="1395">
                  <c:v>8.56</c:v>
                </c:pt>
                <c:pt idx="1396">
                  <c:v>9.7899999999999991</c:v>
                </c:pt>
                <c:pt idx="1397">
                  <c:v>10.34</c:v>
                </c:pt>
                <c:pt idx="1398">
                  <c:v>29.041020408163263</c:v>
                </c:pt>
                <c:pt idx="1399">
                  <c:v>30.959999999999997</c:v>
                </c:pt>
                <c:pt idx="1400">
                  <c:v>31.229999999999997</c:v>
                </c:pt>
                <c:pt idx="1401">
                  <c:v>31.02</c:v>
                </c:pt>
                <c:pt idx="1402">
                  <c:v>30.76</c:v>
                </c:pt>
                <c:pt idx="1403">
                  <c:v>30.57</c:v>
                </c:pt>
                <c:pt idx="1404">
                  <c:v>30.62</c:v>
                </c:pt>
                <c:pt idx="1405">
                  <c:v>30.72</c:v>
                </c:pt>
                <c:pt idx="1406">
                  <c:v>30.729999999999997</c:v>
                </c:pt>
                <c:pt idx="1407">
                  <c:v>30.85</c:v>
                </c:pt>
                <c:pt idx="1408">
                  <c:v>31.119999999999997</c:v>
                </c:pt>
                <c:pt idx="1409">
                  <c:v>32.479999999999997</c:v>
                </c:pt>
                <c:pt idx="1410">
                  <c:v>32.72</c:v>
                </c:pt>
                <c:pt idx="1411">
                  <c:v>32.159999999999997</c:v>
                </c:pt>
                <c:pt idx="1412">
                  <c:v>31.14</c:v>
                </c:pt>
                <c:pt idx="1413">
                  <c:v>30.859999999999996</c:v>
                </c:pt>
                <c:pt idx="1414">
                  <c:v>30.39</c:v>
                </c:pt>
                <c:pt idx="1415">
                  <c:v>29.439999999999998</c:v>
                </c:pt>
                <c:pt idx="1416">
                  <c:v>18.325492564152412</c:v>
                </c:pt>
                <c:pt idx="1417">
                  <c:v>27.2</c:v>
                </c:pt>
                <c:pt idx="1418">
                  <c:v>26.38</c:v>
                </c:pt>
                <c:pt idx="1419">
                  <c:v>25.52</c:v>
                </c:pt>
                <c:pt idx="1420">
                  <c:v>28.65</c:v>
                </c:pt>
                <c:pt idx="1421">
                  <c:v>29.980000000000004</c:v>
                </c:pt>
                <c:pt idx="1422">
                  <c:v>30.890000000000004</c:v>
                </c:pt>
                <c:pt idx="1423">
                  <c:v>32.04</c:v>
                </c:pt>
                <c:pt idx="1424">
                  <c:v>32.751372957561138</c:v>
                </c:pt>
                <c:pt idx="1425">
                  <c:v>32.711759982278338</c:v>
                </c:pt>
                <c:pt idx="1426">
                  <c:v>32.4</c:v>
                </c:pt>
                <c:pt idx="1427">
                  <c:v>32.200000000000003</c:v>
                </c:pt>
                <c:pt idx="1428">
                  <c:v>31.22</c:v>
                </c:pt>
                <c:pt idx="1429">
                  <c:v>30.739999999999995</c:v>
                </c:pt>
                <c:pt idx="1430">
                  <c:v>30.83</c:v>
                </c:pt>
                <c:pt idx="1431">
                  <c:v>31.5</c:v>
                </c:pt>
                <c:pt idx="1432">
                  <c:v>32.03</c:v>
                </c:pt>
                <c:pt idx="1433">
                  <c:v>32.479999999999997</c:v>
                </c:pt>
                <c:pt idx="1434">
                  <c:v>33.918712142261739</c:v>
                </c:pt>
                <c:pt idx="1435">
                  <c:v>32.4</c:v>
                </c:pt>
                <c:pt idx="1436">
                  <c:v>32.130000000000003</c:v>
                </c:pt>
                <c:pt idx="1437">
                  <c:v>31.68</c:v>
                </c:pt>
                <c:pt idx="1438">
                  <c:v>31.610000000000003</c:v>
                </c:pt>
                <c:pt idx="1439">
                  <c:v>29.7</c:v>
                </c:pt>
                <c:pt idx="1440">
                  <c:v>29.729999999999997</c:v>
                </c:pt>
                <c:pt idx="1441">
                  <c:v>29.446238597604506</c:v>
                </c:pt>
                <c:pt idx="1442">
                  <c:v>26.371794234592443</c:v>
                </c:pt>
                <c:pt idx="1443">
                  <c:v>26.55</c:v>
                </c:pt>
                <c:pt idx="1444">
                  <c:v>28.28</c:v>
                </c:pt>
                <c:pt idx="1445">
                  <c:v>29.731588880099448</c:v>
                </c:pt>
                <c:pt idx="1446">
                  <c:v>31.04</c:v>
                </c:pt>
                <c:pt idx="1447">
                  <c:v>33.57</c:v>
                </c:pt>
                <c:pt idx="1448">
                  <c:v>34.19</c:v>
                </c:pt>
                <c:pt idx="1449">
                  <c:v>32.659999999999997</c:v>
                </c:pt>
                <c:pt idx="1450">
                  <c:v>32.409999999999997</c:v>
                </c:pt>
                <c:pt idx="1451">
                  <c:v>32.24</c:v>
                </c:pt>
                <c:pt idx="1452">
                  <c:v>32.04</c:v>
                </c:pt>
                <c:pt idx="1453">
                  <c:v>31.7</c:v>
                </c:pt>
                <c:pt idx="1454">
                  <c:v>31.180000000000003</c:v>
                </c:pt>
                <c:pt idx="1455">
                  <c:v>31.070000000000004</c:v>
                </c:pt>
                <c:pt idx="1456">
                  <c:v>28.469788359788357</c:v>
                </c:pt>
                <c:pt idx="1457">
                  <c:v>32.17</c:v>
                </c:pt>
                <c:pt idx="1458">
                  <c:v>36.07926094781044</c:v>
                </c:pt>
                <c:pt idx="1459">
                  <c:v>32.020000000000003</c:v>
                </c:pt>
                <c:pt idx="1460">
                  <c:v>31.18</c:v>
                </c:pt>
                <c:pt idx="1461">
                  <c:v>30.470000000000002</c:v>
                </c:pt>
                <c:pt idx="1462">
                  <c:v>29.25</c:v>
                </c:pt>
                <c:pt idx="1463">
                  <c:v>25.07</c:v>
                </c:pt>
                <c:pt idx="1464">
                  <c:v>27.02</c:v>
                </c:pt>
                <c:pt idx="1465">
                  <c:v>26.470000000000002</c:v>
                </c:pt>
                <c:pt idx="1466">
                  <c:v>26.03</c:v>
                </c:pt>
                <c:pt idx="1467">
                  <c:v>28.129999999999995</c:v>
                </c:pt>
                <c:pt idx="1468">
                  <c:v>29.92</c:v>
                </c:pt>
                <c:pt idx="1469">
                  <c:v>30.790000000000003</c:v>
                </c:pt>
                <c:pt idx="1470">
                  <c:v>31.72</c:v>
                </c:pt>
                <c:pt idx="1471">
                  <c:v>32.33</c:v>
                </c:pt>
                <c:pt idx="1472">
                  <c:v>32.549999999999997</c:v>
                </c:pt>
                <c:pt idx="1473">
                  <c:v>32.42</c:v>
                </c:pt>
                <c:pt idx="1474">
                  <c:v>32.19</c:v>
                </c:pt>
                <c:pt idx="1475">
                  <c:v>31.96</c:v>
                </c:pt>
                <c:pt idx="1476">
                  <c:v>31.8</c:v>
                </c:pt>
                <c:pt idx="1477">
                  <c:v>31.58</c:v>
                </c:pt>
                <c:pt idx="1478">
                  <c:v>31.5</c:v>
                </c:pt>
                <c:pt idx="1479">
                  <c:v>30.957082750401575</c:v>
                </c:pt>
                <c:pt idx="1480">
                  <c:v>20.346664404939609</c:v>
                </c:pt>
                <c:pt idx="1481">
                  <c:v>38.849999999999994</c:v>
                </c:pt>
                <c:pt idx="1482">
                  <c:v>42.18</c:v>
                </c:pt>
                <c:pt idx="1483">
                  <c:v>32.83</c:v>
                </c:pt>
                <c:pt idx="1484">
                  <c:v>31.98</c:v>
                </c:pt>
                <c:pt idx="1485">
                  <c:v>31.73</c:v>
                </c:pt>
                <c:pt idx="1486">
                  <c:v>31.33</c:v>
                </c:pt>
                <c:pt idx="1487">
                  <c:v>30.87</c:v>
                </c:pt>
                <c:pt idx="1488">
                  <c:v>31.589902824172487</c:v>
                </c:pt>
                <c:pt idx="1489">
                  <c:v>30.265346756152127</c:v>
                </c:pt>
                <c:pt idx="1490">
                  <c:v>30.04</c:v>
                </c:pt>
                <c:pt idx="1491">
                  <c:v>28.439999999999998</c:v>
                </c:pt>
                <c:pt idx="1492">
                  <c:v>28.259999999999998</c:v>
                </c:pt>
                <c:pt idx="1493">
                  <c:v>29.22</c:v>
                </c:pt>
                <c:pt idx="1494">
                  <c:v>28.16</c:v>
                </c:pt>
                <c:pt idx="1495">
                  <c:v>29.859999999999996</c:v>
                </c:pt>
                <c:pt idx="1496">
                  <c:v>30.980000000000008</c:v>
                </c:pt>
                <c:pt idx="1497">
                  <c:v>31.459999999999997</c:v>
                </c:pt>
                <c:pt idx="1498">
                  <c:v>31.569999999999997</c:v>
                </c:pt>
                <c:pt idx="1499">
                  <c:v>31.149999999999995</c:v>
                </c:pt>
                <c:pt idx="1500">
                  <c:v>30.91</c:v>
                </c:pt>
                <c:pt idx="1501">
                  <c:v>30.68</c:v>
                </c:pt>
                <c:pt idx="1502">
                  <c:v>30.11</c:v>
                </c:pt>
                <c:pt idx="1503">
                  <c:v>28.118617921458014</c:v>
                </c:pt>
                <c:pt idx="1504">
                  <c:v>28.748853695324289</c:v>
                </c:pt>
                <c:pt idx="1505">
                  <c:v>31.130000000000003</c:v>
                </c:pt>
                <c:pt idx="1506">
                  <c:v>31.659999999999997</c:v>
                </c:pt>
                <c:pt idx="1507">
                  <c:v>29.333742074509967</c:v>
                </c:pt>
                <c:pt idx="1508">
                  <c:v>28.806673570658038</c:v>
                </c:pt>
                <c:pt idx="1509">
                  <c:v>23.233424310890193</c:v>
                </c:pt>
                <c:pt idx="1510">
                  <c:v>24.146909888535742</c:v>
                </c:pt>
                <c:pt idx="1511">
                  <c:v>11.907080868701698</c:v>
                </c:pt>
                <c:pt idx="1512">
                  <c:v>21.11</c:v>
                </c:pt>
                <c:pt idx="1513">
                  <c:v>15.439999999999998</c:v>
                </c:pt>
                <c:pt idx="1514">
                  <c:v>11.56</c:v>
                </c:pt>
                <c:pt idx="1515">
                  <c:v>10.599999999999998</c:v>
                </c:pt>
                <c:pt idx="1516">
                  <c:v>7.4469191257931318</c:v>
                </c:pt>
                <c:pt idx="1517">
                  <c:v>3.9954787132796148</c:v>
                </c:pt>
                <c:pt idx="1518">
                  <c:v>9.83</c:v>
                </c:pt>
                <c:pt idx="1519">
                  <c:v>9.1300000000000008</c:v>
                </c:pt>
                <c:pt idx="1520">
                  <c:v>9.8800000000000008</c:v>
                </c:pt>
                <c:pt idx="1521">
                  <c:v>12.112751112940034</c:v>
                </c:pt>
                <c:pt idx="1522">
                  <c:v>11.104085445674164</c:v>
                </c:pt>
                <c:pt idx="1523">
                  <c:v>13.587104465638648</c:v>
                </c:pt>
                <c:pt idx="1524">
                  <c:v>13.805518437292806</c:v>
                </c:pt>
                <c:pt idx="1525">
                  <c:v>12.931098496961946</c:v>
                </c:pt>
                <c:pt idx="1526">
                  <c:v>11.873755741242876</c:v>
                </c:pt>
                <c:pt idx="1527">
                  <c:v>12.080282144778527</c:v>
                </c:pt>
                <c:pt idx="1528">
                  <c:v>28.351016866800858</c:v>
                </c:pt>
                <c:pt idx="1529">
                  <c:v>30.076713647903357</c:v>
                </c:pt>
                <c:pt idx="1530">
                  <c:v>33.645505855250526</c:v>
                </c:pt>
                <c:pt idx="1531">
                  <c:v>34.29</c:v>
                </c:pt>
                <c:pt idx="1532">
                  <c:v>32.45000000000001</c:v>
                </c:pt>
                <c:pt idx="1533">
                  <c:v>31.799999999999997</c:v>
                </c:pt>
                <c:pt idx="1534">
                  <c:v>31.299999999999997</c:v>
                </c:pt>
                <c:pt idx="1535">
                  <c:v>30.66</c:v>
                </c:pt>
                <c:pt idx="1536">
                  <c:v>30.4</c:v>
                </c:pt>
                <c:pt idx="1537">
                  <c:v>29.040000000000003</c:v>
                </c:pt>
                <c:pt idx="1538">
                  <c:v>27.989999999999995</c:v>
                </c:pt>
                <c:pt idx="1539">
                  <c:v>25.350000000000005</c:v>
                </c:pt>
                <c:pt idx="1540">
                  <c:v>27.300000000000008</c:v>
                </c:pt>
                <c:pt idx="1541">
                  <c:v>29.401583412875176</c:v>
                </c:pt>
                <c:pt idx="1542">
                  <c:v>34.535960789671421</c:v>
                </c:pt>
                <c:pt idx="1543">
                  <c:v>35.869999999999997</c:v>
                </c:pt>
                <c:pt idx="1544">
                  <c:v>39.40857057344666</c:v>
                </c:pt>
                <c:pt idx="1545">
                  <c:v>38.040000000000006</c:v>
                </c:pt>
                <c:pt idx="1546">
                  <c:v>35.43</c:v>
                </c:pt>
                <c:pt idx="1547">
                  <c:v>34.130000000000003</c:v>
                </c:pt>
                <c:pt idx="1548">
                  <c:v>33.840000000000003</c:v>
                </c:pt>
                <c:pt idx="1549">
                  <c:v>33.39</c:v>
                </c:pt>
                <c:pt idx="1550">
                  <c:v>33.270000000000003</c:v>
                </c:pt>
                <c:pt idx="1551">
                  <c:v>32.92</c:v>
                </c:pt>
                <c:pt idx="1552">
                  <c:v>32.81</c:v>
                </c:pt>
                <c:pt idx="1553">
                  <c:v>34.587348754448399</c:v>
                </c:pt>
                <c:pt idx="1554">
                  <c:v>35.205332485850064</c:v>
                </c:pt>
                <c:pt idx="1555">
                  <c:v>34.07243446402628</c:v>
                </c:pt>
                <c:pt idx="1556">
                  <c:v>32.76</c:v>
                </c:pt>
                <c:pt idx="1557">
                  <c:v>32.380000000000003</c:v>
                </c:pt>
                <c:pt idx="1558">
                  <c:v>31.79</c:v>
                </c:pt>
                <c:pt idx="1559">
                  <c:v>31.160000000000004</c:v>
                </c:pt>
                <c:pt idx="1560">
                  <c:v>31.07</c:v>
                </c:pt>
                <c:pt idx="1561">
                  <c:v>30.010000000000005</c:v>
                </c:pt>
                <c:pt idx="1562">
                  <c:v>29.99</c:v>
                </c:pt>
                <c:pt idx="1563">
                  <c:v>29.64</c:v>
                </c:pt>
                <c:pt idx="1564">
                  <c:v>30.705800745429805</c:v>
                </c:pt>
                <c:pt idx="1565">
                  <c:v>32.893668471255474</c:v>
                </c:pt>
                <c:pt idx="1566">
                  <c:v>36</c:v>
                </c:pt>
                <c:pt idx="1567">
                  <c:v>48.58</c:v>
                </c:pt>
                <c:pt idx="1568">
                  <c:v>52.660000000000004</c:v>
                </c:pt>
                <c:pt idx="1569">
                  <c:v>52.37</c:v>
                </c:pt>
                <c:pt idx="1570">
                  <c:v>52.21</c:v>
                </c:pt>
                <c:pt idx="1571">
                  <c:v>49.97</c:v>
                </c:pt>
                <c:pt idx="1572">
                  <c:v>47.35</c:v>
                </c:pt>
                <c:pt idx="1573">
                  <c:v>47.32</c:v>
                </c:pt>
                <c:pt idx="1574">
                  <c:v>46.13</c:v>
                </c:pt>
                <c:pt idx="1575">
                  <c:v>43.19</c:v>
                </c:pt>
                <c:pt idx="1576">
                  <c:v>42.09</c:v>
                </c:pt>
                <c:pt idx="1577">
                  <c:v>49.1</c:v>
                </c:pt>
                <c:pt idx="1578">
                  <c:v>56.14</c:v>
                </c:pt>
                <c:pt idx="1579">
                  <c:v>47.75</c:v>
                </c:pt>
                <c:pt idx="1580">
                  <c:v>40.869999999999997</c:v>
                </c:pt>
                <c:pt idx="1581">
                  <c:v>37.08</c:v>
                </c:pt>
                <c:pt idx="1582">
                  <c:v>34.97</c:v>
                </c:pt>
                <c:pt idx="1583">
                  <c:v>32.840000000000003</c:v>
                </c:pt>
                <c:pt idx="1584">
                  <c:v>32.51</c:v>
                </c:pt>
                <c:pt idx="1585">
                  <c:v>31.98</c:v>
                </c:pt>
                <c:pt idx="1586">
                  <c:v>31.55</c:v>
                </c:pt>
                <c:pt idx="1587">
                  <c:v>31.380000000000003</c:v>
                </c:pt>
                <c:pt idx="1588">
                  <c:v>31.2</c:v>
                </c:pt>
                <c:pt idx="1589">
                  <c:v>32.06</c:v>
                </c:pt>
                <c:pt idx="1590">
                  <c:v>35</c:v>
                </c:pt>
                <c:pt idx="1591">
                  <c:v>41.570000000000007</c:v>
                </c:pt>
                <c:pt idx="1592">
                  <c:v>44.529999999999994</c:v>
                </c:pt>
                <c:pt idx="1593">
                  <c:v>40.33</c:v>
                </c:pt>
                <c:pt idx="1594">
                  <c:v>36.15</c:v>
                </c:pt>
                <c:pt idx="1595">
                  <c:v>34.179999999999993</c:v>
                </c:pt>
                <c:pt idx="1596">
                  <c:v>33.340000000000003</c:v>
                </c:pt>
                <c:pt idx="1597">
                  <c:v>32.840000000000003</c:v>
                </c:pt>
                <c:pt idx="1598">
                  <c:v>32.799999999999997</c:v>
                </c:pt>
                <c:pt idx="1599">
                  <c:v>32.619999999999997</c:v>
                </c:pt>
                <c:pt idx="1600">
                  <c:v>32.54</c:v>
                </c:pt>
                <c:pt idx="1601">
                  <c:v>32.939999999999991</c:v>
                </c:pt>
                <c:pt idx="1602">
                  <c:v>33.72</c:v>
                </c:pt>
                <c:pt idx="1603">
                  <c:v>33.24</c:v>
                </c:pt>
                <c:pt idx="1604">
                  <c:v>32.67</c:v>
                </c:pt>
                <c:pt idx="1605">
                  <c:v>31.85</c:v>
                </c:pt>
                <c:pt idx="1606">
                  <c:v>31.37</c:v>
                </c:pt>
                <c:pt idx="1607">
                  <c:v>28.970000000000002</c:v>
                </c:pt>
                <c:pt idx="1608">
                  <c:v>30.142510666966093</c:v>
                </c:pt>
                <c:pt idx="1609">
                  <c:v>30.036965746700119</c:v>
                </c:pt>
                <c:pt idx="1610">
                  <c:v>29.741429338423913</c:v>
                </c:pt>
                <c:pt idx="1611">
                  <c:v>29.3</c:v>
                </c:pt>
                <c:pt idx="1612">
                  <c:v>29.279999999999998</c:v>
                </c:pt>
                <c:pt idx="1613">
                  <c:v>31.119999999999997</c:v>
                </c:pt>
                <c:pt idx="1614">
                  <c:v>32.980000000000004</c:v>
                </c:pt>
                <c:pt idx="1615">
                  <c:v>34.21</c:v>
                </c:pt>
                <c:pt idx="1616">
                  <c:v>35.96</c:v>
                </c:pt>
                <c:pt idx="1617">
                  <c:v>34.58</c:v>
                </c:pt>
                <c:pt idx="1618">
                  <c:v>34.22</c:v>
                </c:pt>
                <c:pt idx="1619">
                  <c:v>33.56</c:v>
                </c:pt>
                <c:pt idx="1620">
                  <c:v>33.189999999999991</c:v>
                </c:pt>
                <c:pt idx="1621">
                  <c:v>32.909999999999997</c:v>
                </c:pt>
                <c:pt idx="1622">
                  <c:v>32.69</c:v>
                </c:pt>
                <c:pt idx="1623">
                  <c:v>32.690000000000005</c:v>
                </c:pt>
                <c:pt idx="1624">
                  <c:v>32.76</c:v>
                </c:pt>
                <c:pt idx="1625">
                  <c:v>33.299999999999997</c:v>
                </c:pt>
                <c:pt idx="1626">
                  <c:v>34.996849315068495</c:v>
                </c:pt>
                <c:pt idx="1627">
                  <c:v>32.859999999999992</c:v>
                </c:pt>
                <c:pt idx="1628">
                  <c:v>32.319999999999993</c:v>
                </c:pt>
                <c:pt idx="1629">
                  <c:v>32.270000000000003</c:v>
                </c:pt>
                <c:pt idx="1630">
                  <c:v>31.11</c:v>
                </c:pt>
                <c:pt idx="1631">
                  <c:v>28.826897541552853</c:v>
                </c:pt>
                <c:pt idx="1632">
                  <c:v>20.82</c:v>
                </c:pt>
                <c:pt idx="1633">
                  <c:v>18.18</c:v>
                </c:pt>
                <c:pt idx="1634">
                  <c:v>12.01</c:v>
                </c:pt>
                <c:pt idx="1635">
                  <c:v>18.09</c:v>
                </c:pt>
                <c:pt idx="1636">
                  <c:v>26.960000000000004</c:v>
                </c:pt>
                <c:pt idx="1637">
                  <c:v>28.59</c:v>
                </c:pt>
                <c:pt idx="1638">
                  <c:v>31.900000000000002</c:v>
                </c:pt>
                <c:pt idx="1639">
                  <c:v>33.470000000000006</c:v>
                </c:pt>
                <c:pt idx="1640">
                  <c:v>33.930000000000007</c:v>
                </c:pt>
                <c:pt idx="1641">
                  <c:v>32.56</c:v>
                </c:pt>
                <c:pt idx="1642">
                  <c:v>32.429999999999993</c:v>
                </c:pt>
                <c:pt idx="1643">
                  <c:v>32.090000000000003</c:v>
                </c:pt>
                <c:pt idx="1644">
                  <c:v>31.51</c:v>
                </c:pt>
                <c:pt idx="1645">
                  <c:v>31.309999999999995</c:v>
                </c:pt>
                <c:pt idx="1646">
                  <c:v>31.26</c:v>
                </c:pt>
                <c:pt idx="1647">
                  <c:v>31.590000000000003</c:v>
                </c:pt>
                <c:pt idx="1648">
                  <c:v>32.090000000000003</c:v>
                </c:pt>
                <c:pt idx="1649">
                  <c:v>33.159999999999997</c:v>
                </c:pt>
                <c:pt idx="1650">
                  <c:v>36.630000000000003</c:v>
                </c:pt>
                <c:pt idx="1651">
                  <c:v>33.329999999999991</c:v>
                </c:pt>
                <c:pt idx="1652">
                  <c:v>32.46</c:v>
                </c:pt>
                <c:pt idx="1653">
                  <c:v>32.339999999999996</c:v>
                </c:pt>
                <c:pt idx="1654">
                  <c:v>32.21</c:v>
                </c:pt>
                <c:pt idx="1655">
                  <c:v>31.919999999999998</c:v>
                </c:pt>
                <c:pt idx="1656">
                  <c:v>31.160000000000004</c:v>
                </c:pt>
                <c:pt idx="1657">
                  <c:v>30.49</c:v>
                </c:pt>
                <c:pt idx="1658">
                  <c:v>30.13</c:v>
                </c:pt>
                <c:pt idx="1659">
                  <c:v>29.64</c:v>
                </c:pt>
                <c:pt idx="1660">
                  <c:v>29.07</c:v>
                </c:pt>
                <c:pt idx="1661">
                  <c:v>30</c:v>
                </c:pt>
                <c:pt idx="1662">
                  <c:v>31.280000000000005</c:v>
                </c:pt>
                <c:pt idx="1663">
                  <c:v>31.259999999999998</c:v>
                </c:pt>
                <c:pt idx="1664">
                  <c:v>31.69</c:v>
                </c:pt>
                <c:pt idx="1665">
                  <c:v>32.36</c:v>
                </c:pt>
                <c:pt idx="1666">
                  <c:v>32.21</c:v>
                </c:pt>
                <c:pt idx="1667">
                  <c:v>31.41</c:v>
                </c:pt>
                <c:pt idx="1668">
                  <c:v>31.07</c:v>
                </c:pt>
                <c:pt idx="1669">
                  <c:v>30.19</c:v>
                </c:pt>
                <c:pt idx="1670">
                  <c:v>29.85</c:v>
                </c:pt>
                <c:pt idx="1671">
                  <c:v>29.980000000000004</c:v>
                </c:pt>
                <c:pt idx="1672">
                  <c:v>30.81</c:v>
                </c:pt>
                <c:pt idx="1673">
                  <c:v>32.68</c:v>
                </c:pt>
                <c:pt idx="1674">
                  <c:v>33.68</c:v>
                </c:pt>
                <c:pt idx="1675">
                  <c:v>33.009999999999991</c:v>
                </c:pt>
                <c:pt idx="1676">
                  <c:v>31.519999999999996</c:v>
                </c:pt>
                <c:pt idx="1677">
                  <c:v>31.230000000000004</c:v>
                </c:pt>
                <c:pt idx="1678">
                  <c:v>31.08</c:v>
                </c:pt>
                <c:pt idx="1679">
                  <c:v>30.05</c:v>
                </c:pt>
                <c:pt idx="1680">
                  <c:v>28.085843873108022</c:v>
                </c:pt>
                <c:pt idx="1681">
                  <c:v>25.864986256184714</c:v>
                </c:pt>
                <c:pt idx="1682">
                  <c:v>26.69</c:v>
                </c:pt>
                <c:pt idx="1683">
                  <c:v>26.900000000000002</c:v>
                </c:pt>
                <c:pt idx="1684">
                  <c:v>26.13</c:v>
                </c:pt>
                <c:pt idx="1685">
                  <c:v>28.509999999999998</c:v>
                </c:pt>
                <c:pt idx="1686">
                  <c:v>28.29</c:v>
                </c:pt>
                <c:pt idx="1687">
                  <c:v>28.75</c:v>
                </c:pt>
                <c:pt idx="1688">
                  <c:v>29.299999999999997</c:v>
                </c:pt>
                <c:pt idx="1689">
                  <c:v>29.59</c:v>
                </c:pt>
                <c:pt idx="1690">
                  <c:v>29.7</c:v>
                </c:pt>
                <c:pt idx="1691">
                  <c:v>29.43</c:v>
                </c:pt>
                <c:pt idx="1692">
                  <c:v>29.4</c:v>
                </c:pt>
                <c:pt idx="1693">
                  <c:v>28.98</c:v>
                </c:pt>
                <c:pt idx="1694">
                  <c:v>28.92</c:v>
                </c:pt>
                <c:pt idx="1695">
                  <c:v>28.900000000000006</c:v>
                </c:pt>
                <c:pt idx="1696">
                  <c:v>29.19</c:v>
                </c:pt>
                <c:pt idx="1697">
                  <c:v>29.699999999999996</c:v>
                </c:pt>
                <c:pt idx="1698">
                  <c:v>31.150000000000002</c:v>
                </c:pt>
                <c:pt idx="1699">
                  <c:v>31.35</c:v>
                </c:pt>
                <c:pt idx="1700">
                  <c:v>30.690000000000005</c:v>
                </c:pt>
                <c:pt idx="1701">
                  <c:v>30.62</c:v>
                </c:pt>
                <c:pt idx="1702">
                  <c:v>30.4</c:v>
                </c:pt>
                <c:pt idx="1703">
                  <c:v>29.339999999999996</c:v>
                </c:pt>
                <c:pt idx="1704">
                  <c:v>27.040000000000003</c:v>
                </c:pt>
                <c:pt idx="1705">
                  <c:v>26.82</c:v>
                </c:pt>
                <c:pt idx="1706">
                  <c:v>26.899999999999995</c:v>
                </c:pt>
                <c:pt idx="1707">
                  <c:v>27.02</c:v>
                </c:pt>
                <c:pt idx="1708">
                  <c:v>27.77</c:v>
                </c:pt>
                <c:pt idx="1709">
                  <c:v>29.816624939817043</c:v>
                </c:pt>
                <c:pt idx="1710">
                  <c:v>33.598991748323883</c:v>
                </c:pt>
                <c:pt idx="1711">
                  <c:v>40.012786212556428</c:v>
                </c:pt>
                <c:pt idx="1712">
                  <c:v>42.530000000000008</c:v>
                </c:pt>
                <c:pt idx="1713">
                  <c:v>40</c:v>
                </c:pt>
                <c:pt idx="1714">
                  <c:v>34.570000000000007</c:v>
                </c:pt>
                <c:pt idx="1715">
                  <c:v>32.89</c:v>
                </c:pt>
                <c:pt idx="1716">
                  <c:v>31.97</c:v>
                </c:pt>
                <c:pt idx="1717">
                  <c:v>32.200000000000003</c:v>
                </c:pt>
                <c:pt idx="1718">
                  <c:v>31.700000000000003</c:v>
                </c:pt>
                <c:pt idx="1719">
                  <c:v>31.78</c:v>
                </c:pt>
                <c:pt idx="1720">
                  <c:v>35.74</c:v>
                </c:pt>
                <c:pt idx="1721">
                  <c:v>40.82</c:v>
                </c:pt>
                <c:pt idx="1722">
                  <c:v>48.699999999999996</c:v>
                </c:pt>
                <c:pt idx="1723">
                  <c:v>47.7946267281106</c:v>
                </c:pt>
                <c:pt idx="1724">
                  <c:v>38.42</c:v>
                </c:pt>
                <c:pt idx="1725">
                  <c:v>31.299999999999994</c:v>
                </c:pt>
                <c:pt idx="1726">
                  <c:v>30.74</c:v>
                </c:pt>
                <c:pt idx="1727">
                  <c:v>30.179999999999996</c:v>
                </c:pt>
                <c:pt idx="1728">
                  <c:v>29.48117351360721</c:v>
                </c:pt>
                <c:pt idx="1729">
                  <c:v>28.47752293577982</c:v>
                </c:pt>
                <c:pt idx="1730">
                  <c:v>27.615676718593679</c:v>
                </c:pt>
                <c:pt idx="1731">
                  <c:v>27.617219413549037</c:v>
                </c:pt>
                <c:pt idx="1732">
                  <c:v>28.429999999999996</c:v>
                </c:pt>
                <c:pt idx="1733">
                  <c:v>29.503288206196302</c:v>
                </c:pt>
                <c:pt idx="1734">
                  <c:v>31.49</c:v>
                </c:pt>
                <c:pt idx="1735">
                  <c:v>33.673303814116608</c:v>
                </c:pt>
                <c:pt idx="1736">
                  <c:v>33.877098121085588</c:v>
                </c:pt>
                <c:pt idx="1737">
                  <c:v>33.015781789868122</c:v>
                </c:pt>
                <c:pt idx="1738">
                  <c:v>32.515665619058701</c:v>
                </c:pt>
                <c:pt idx="1739">
                  <c:v>31.199999999999996</c:v>
                </c:pt>
                <c:pt idx="1740">
                  <c:v>30.339999999999996</c:v>
                </c:pt>
                <c:pt idx="1741">
                  <c:v>29.84</c:v>
                </c:pt>
                <c:pt idx="1742">
                  <c:v>29.51</c:v>
                </c:pt>
                <c:pt idx="1743">
                  <c:v>29.43</c:v>
                </c:pt>
                <c:pt idx="1744">
                  <c:v>29.7</c:v>
                </c:pt>
                <c:pt idx="1745">
                  <c:v>29.98</c:v>
                </c:pt>
                <c:pt idx="1746">
                  <c:v>30.869999999999997</c:v>
                </c:pt>
                <c:pt idx="1747">
                  <c:v>30.309999999999995</c:v>
                </c:pt>
                <c:pt idx="1748">
                  <c:v>28.23</c:v>
                </c:pt>
                <c:pt idx="1749">
                  <c:v>25.5</c:v>
                </c:pt>
                <c:pt idx="1750">
                  <c:v>23.15</c:v>
                </c:pt>
                <c:pt idx="1751">
                  <c:v>9.9782400097169912</c:v>
                </c:pt>
                <c:pt idx="1752">
                  <c:v>0.01</c:v>
                </c:pt>
                <c:pt idx="1753">
                  <c:v>-4.0599999999999996</c:v>
                </c:pt>
                <c:pt idx="1754">
                  <c:v>-0.71</c:v>
                </c:pt>
                <c:pt idx="1755">
                  <c:v>0.05</c:v>
                </c:pt>
                <c:pt idx="1756">
                  <c:v>4.5599999999999996</c:v>
                </c:pt>
                <c:pt idx="1757">
                  <c:v>23.59</c:v>
                </c:pt>
                <c:pt idx="1758">
                  <c:v>29.64</c:v>
                </c:pt>
                <c:pt idx="1759">
                  <c:v>30.850000000000005</c:v>
                </c:pt>
                <c:pt idx="1760">
                  <c:v>31.059999999999995</c:v>
                </c:pt>
                <c:pt idx="1761">
                  <c:v>30.63</c:v>
                </c:pt>
                <c:pt idx="1762">
                  <c:v>30.310000000000002</c:v>
                </c:pt>
                <c:pt idx="1763">
                  <c:v>29.869999999999997</c:v>
                </c:pt>
                <c:pt idx="1764">
                  <c:v>29.009999999999998</c:v>
                </c:pt>
                <c:pt idx="1765">
                  <c:v>28.36</c:v>
                </c:pt>
                <c:pt idx="1766">
                  <c:v>28.120000000000005</c:v>
                </c:pt>
                <c:pt idx="1767">
                  <c:v>27.890000000000004</c:v>
                </c:pt>
                <c:pt idx="1768">
                  <c:v>29.08</c:v>
                </c:pt>
                <c:pt idx="1769">
                  <c:v>30.45</c:v>
                </c:pt>
                <c:pt idx="1770">
                  <c:v>31.059999999999992</c:v>
                </c:pt>
                <c:pt idx="1771">
                  <c:v>30.95</c:v>
                </c:pt>
                <c:pt idx="1772">
                  <c:v>30.86</c:v>
                </c:pt>
                <c:pt idx="1773">
                  <c:v>30.690000000000005</c:v>
                </c:pt>
                <c:pt idx="1774">
                  <c:v>28.049999999999997</c:v>
                </c:pt>
                <c:pt idx="1775">
                  <c:v>23.600000000000005</c:v>
                </c:pt>
                <c:pt idx="1776">
                  <c:v>21.08</c:v>
                </c:pt>
                <c:pt idx="1777">
                  <c:v>21.03</c:v>
                </c:pt>
                <c:pt idx="1778">
                  <c:v>21.709999999999997</c:v>
                </c:pt>
                <c:pt idx="1779">
                  <c:v>25.083749510763209</c:v>
                </c:pt>
                <c:pt idx="1780">
                  <c:v>28.861596536391296</c:v>
                </c:pt>
                <c:pt idx="1781">
                  <c:v>29.7</c:v>
                </c:pt>
                <c:pt idx="1782">
                  <c:v>30.76</c:v>
                </c:pt>
                <c:pt idx="1783">
                  <c:v>32.520000000000003</c:v>
                </c:pt>
                <c:pt idx="1784">
                  <c:v>35.67</c:v>
                </c:pt>
                <c:pt idx="1785">
                  <c:v>35.279999999999994</c:v>
                </c:pt>
                <c:pt idx="1786">
                  <c:v>32.939999999999991</c:v>
                </c:pt>
                <c:pt idx="1787">
                  <c:v>31.870000000000005</c:v>
                </c:pt>
                <c:pt idx="1788">
                  <c:v>30.539967691910054</c:v>
                </c:pt>
                <c:pt idx="1789">
                  <c:v>30.450000000000003</c:v>
                </c:pt>
                <c:pt idx="1790">
                  <c:v>30.19</c:v>
                </c:pt>
                <c:pt idx="1791">
                  <c:v>30.28</c:v>
                </c:pt>
                <c:pt idx="1792">
                  <c:v>30.755671909157158</c:v>
                </c:pt>
                <c:pt idx="1793">
                  <c:v>31.609334212675083</c:v>
                </c:pt>
                <c:pt idx="1794">
                  <c:v>32.876726505727305</c:v>
                </c:pt>
                <c:pt idx="1795">
                  <c:v>31.781624198350894</c:v>
                </c:pt>
                <c:pt idx="1796">
                  <c:v>29.89</c:v>
                </c:pt>
                <c:pt idx="1797">
                  <c:v>28.579999999999995</c:v>
                </c:pt>
                <c:pt idx="1798">
                  <c:v>13.553746159054215</c:v>
                </c:pt>
                <c:pt idx="1799">
                  <c:v>9.909130764947097</c:v>
                </c:pt>
                <c:pt idx="1800">
                  <c:v>17.18</c:v>
                </c:pt>
                <c:pt idx="1801">
                  <c:v>17.019999999999996</c:v>
                </c:pt>
                <c:pt idx="1802">
                  <c:v>17.059999999999999</c:v>
                </c:pt>
                <c:pt idx="1803">
                  <c:v>18.71</c:v>
                </c:pt>
                <c:pt idx="1804">
                  <c:v>21.64</c:v>
                </c:pt>
                <c:pt idx="1805">
                  <c:v>25.99</c:v>
                </c:pt>
                <c:pt idx="1806">
                  <c:v>29.17</c:v>
                </c:pt>
                <c:pt idx="1807">
                  <c:v>30.630000000000003</c:v>
                </c:pt>
                <c:pt idx="1808">
                  <c:v>30.639999999999997</c:v>
                </c:pt>
                <c:pt idx="1809">
                  <c:v>30.199999999999996</c:v>
                </c:pt>
                <c:pt idx="1810">
                  <c:v>29.879999999999995</c:v>
                </c:pt>
                <c:pt idx="1811">
                  <c:v>29.33</c:v>
                </c:pt>
                <c:pt idx="1812">
                  <c:v>27.906135636913465</c:v>
                </c:pt>
                <c:pt idx="1813">
                  <c:v>25.44</c:v>
                </c:pt>
                <c:pt idx="1814">
                  <c:v>22.1</c:v>
                </c:pt>
                <c:pt idx="1815">
                  <c:v>22.779999999999998</c:v>
                </c:pt>
                <c:pt idx="1816">
                  <c:v>26.612859627956567</c:v>
                </c:pt>
                <c:pt idx="1817">
                  <c:v>29.6</c:v>
                </c:pt>
                <c:pt idx="1818">
                  <c:v>30.1</c:v>
                </c:pt>
                <c:pt idx="1819">
                  <c:v>29.970000000000002</c:v>
                </c:pt>
                <c:pt idx="1820">
                  <c:v>29.39</c:v>
                </c:pt>
                <c:pt idx="1821">
                  <c:v>27.91</c:v>
                </c:pt>
                <c:pt idx="1822">
                  <c:v>24.5</c:v>
                </c:pt>
                <c:pt idx="1823">
                  <c:v>14.96</c:v>
                </c:pt>
                <c:pt idx="1824">
                  <c:v>11.729999999999999</c:v>
                </c:pt>
                <c:pt idx="1825">
                  <c:v>9.42</c:v>
                </c:pt>
                <c:pt idx="1826">
                  <c:v>9.39</c:v>
                </c:pt>
                <c:pt idx="1827">
                  <c:v>20.94</c:v>
                </c:pt>
                <c:pt idx="1828">
                  <c:v>22.62</c:v>
                </c:pt>
                <c:pt idx="1829">
                  <c:v>22.05</c:v>
                </c:pt>
                <c:pt idx="1830">
                  <c:v>23.11</c:v>
                </c:pt>
                <c:pt idx="1831">
                  <c:v>26.32</c:v>
                </c:pt>
                <c:pt idx="1832">
                  <c:v>28.53</c:v>
                </c:pt>
                <c:pt idx="1833">
                  <c:v>28.910000000000004</c:v>
                </c:pt>
                <c:pt idx="1834">
                  <c:v>28.014362260121239</c:v>
                </c:pt>
                <c:pt idx="1835">
                  <c:v>27.036806193449021</c:v>
                </c:pt>
                <c:pt idx="1836">
                  <c:v>25.690000000000005</c:v>
                </c:pt>
                <c:pt idx="1837">
                  <c:v>17.010000000000002</c:v>
                </c:pt>
                <c:pt idx="1838">
                  <c:v>9.75</c:v>
                </c:pt>
                <c:pt idx="1839">
                  <c:v>14.359999999999998</c:v>
                </c:pt>
                <c:pt idx="1840">
                  <c:v>9.99</c:v>
                </c:pt>
                <c:pt idx="1841">
                  <c:v>27.810287879222759</c:v>
                </c:pt>
                <c:pt idx="1842">
                  <c:v>31.894684749159094</c:v>
                </c:pt>
                <c:pt idx="1843">
                  <c:v>31.039999999999996</c:v>
                </c:pt>
                <c:pt idx="1844">
                  <c:v>30.520000000000003</c:v>
                </c:pt>
                <c:pt idx="1845">
                  <c:v>30.219999999999995</c:v>
                </c:pt>
                <c:pt idx="1846">
                  <c:v>30.570000000000004</c:v>
                </c:pt>
                <c:pt idx="1847">
                  <c:v>29.060000000000002</c:v>
                </c:pt>
                <c:pt idx="1848">
                  <c:v>16.62</c:v>
                </c:pt>
                <c:pt idx="1849">
                  <c:v>15.790000000000001</c:v>
                </c:pt>
                <c:pt idx="1850">
                  <c:v>16.12</c:v>
                </c:pt>
                <c:pt idx="1851">
                  <c:v>12.67</c:v>
                </c:pt>
                <c:pt idx="1852">
                  <c:v>16.760000000000005</c:v>
                </c:pt>
                <c:pt idx="1853">
                  <c:v>18.89</c:v>
                </c:pt>
                <c:pt idx="1854">
                  <c:v>28.17</c:v>
                </c:pt>
                <c:pt idx="1855">
                  <c:v>28.419999999999998</c:v>
                </c:pt>
                <c:pt idx="1856">
                  <c:v>28.74</c:v>
                </c:pt>
                <c:pt idx="1857">
                  <c:v>19.05543631391398</c:v>
                </c:pt>
                <c:pt idx="1858">
                  <c:v>22.053057374901755</c:v>
                </c:pt>
                <c:pt idx="1859">
                  <c:v>19.946727009413468</c:v>
                </c:pt>
                <c:pt idx="1860">
                  <c:v>20.289688254479223</c:v>
                </c:pt>
                <c:pt idx="1861">
                  <c:v>11.35</c:v>
                </c:pt>
                <c:pt idx="1862">
                  <c:v>10.119999999999999</c:v>
                </c:pt>
                <c:pt idx="1863">
                  <c:v>9.44</c:v>
                </c:pt>
                <c:pt idx="1864">
                  <c:v>9.42</c:v>
                </c:pt>
                <c:pt idx="1865">
                  <c:v>10.150000000000002</c:v>
                </c:pt>
                <c:pt idx="1866">
                  <c:v>19.789125877535103</c:v>
                </c:pt>
                <c:pt idx="1867">
                  <c:v>19.46637169977696</c:v>
                </c:pt>
                <c:pt idx="1868">
                  <c:v>11.96</c:v>
                </c:pt>
                <c:pt idx="1869">
                  <c:v>9.4700000000000024</c:v>
                </c:pt>
                <c:pt idx="1870">
                  <c:v>12.51</c:v>
                </c:pt>
                <c:pt idx="1871">
                  <c:v>10.119999999999999</c:v>
                </c:pt>
                <c:pt idx="1872">
                  <c:v>10.590000000000002</c:v>
                </c:pt>
                <c:pt idx="1873">
                  <c:v>13.87</c:v>
                </c:pt>
                <c:pt idx="1874">
                  <c:v>10.070000000000002</c:v>
                </c:pt>
                <c:pt idx="1875">
                  <c:v>16.359999999999996</c:v>
                </c:pt>
                <c:pt idx="1876">
                  <c:v>22.06</c:v>
                </c:pt>
                <c:pt idx="1877">
                  <c:v>27.139453294713974</c:v>
                </c:pt>
                <c:pt idx="1878">
                  <c:v>35.231359171280587</c:v>
                </c:pt>
                <c:pt idx="1879">
                  <c:v>39.26</c:v>
                </c:pt>
                <c:pt idx="1880">
                  <c:v>40.97</c:v>
                </c:pt>
                <c:pt idx="1881">
                  <c:v>38.4</c:v>
                </c:pt>
                <c:pt idx="1882">
                  <c:v>36.07</c:v>
                </c:pt>
                <c:pt idx="1883">
                  <c:v>32.93</c:v>
                </c:pt>
                <c:pt idx="1884">
                  <c:v>32.29</c:v>
                </c:pt>
                <c:pt idx="1885">
                  <c:v>31.960000000000004</c:v>
                </c:pt>
                <c:pt idx="1886">
                  <c:v>31.160000000000007</c:v>
                </c:pt>
                <c:pt idx="1887">
                  <c:v>30.82</c:v>
                </c:pt>
                <c:pt idx="1888">
                  <c:v>30.56</c:v>
                </c:pt>
                <c:pt idx="1889">
                  <c:v>31.160000000000004</c:v>
                </c:pt>
                <c:pt idx="1890">
                  <c:v>31.72</c:v>
                </c:pt>
                <c:pt idx="1891">
                  <c:v>31.039999999999996</c:v>
                </c:pt>
                <c:pt idx="1892">
                  <c:v>30.56</c:v>
                </c:pt>
                <c:pt idx="1893">
                  <c:v>27.79452789699571</c:v>
                </c:pt>
                <c:pt idx="1894">
                  <c:v>25.199999999999996</c:v>
                </c:pt>
                <c:pt idx="1895">
                  <c:v>10.75</c:v>
                </c:pt>
                <c:pt idx="1896">
                  <c:v>18.760000000000002</c:v>
                </c:pt>
                <c:pt idx="1897">
                  <c:v>17.48</c:v>
                </c:pt>
                <c:pt idx="1898">
                  <c:v>15.920000000000002</c:v>
                </c:pt>
                <c:pt idx="1899">
                  <c:v>18.019999999999996</c:v>
                </c:pt>
                <c:pt idx="1900">
                  <c:v>22.06</c:v>
                </c:pt>
                <c:pt idx="1901">
                  <c:v>23.989999999999995</c:v>
                </c:pt>
                <c:pt idx="1902">
                  <c:v>29.93</c:v>
                </c:pt>
                <c:pt idx="1903">
                  <c:v>31.17</c:v>
                </c:pt>
                <c:pt idx="1904">
                  <c:v>31.56</c:v>
                </c:pt>
                <c:pt idx="1905">
                  <c:v>30.84</c:v>
                </c:pt>
                <c:pt idx="1906">
                  <c:v>29.97</c:v>
                </c:pt>
                <c:pt idx="1907">
                  <c:v>29.69</c:v>
                </c:pt>
                <c:pt idx="1908">
                  <c:v>29.08</c:v>
                </c:pt>
                <c:pt idx="1909">
                  <c:v>28.86</c:v>
                </c:pt>
                <c:pt idx="1910">
                  <c:v>28.94</c:v>
                </c:pt>
                <c:pt idx="1911">
                  <c:v>29.37</c:v>
                </c:pt>
                <c:pt idx="1912">
                  <c:v>29.63</c:v>
                </c:pt>
                <c:pt idx="1913">
                  <c:v>30.349999999999998</c:v>
                </c:pt>
                <c:pt idx="1914">
                  <c:v>30.779999999999998</c:v>
                </c:pt>
                <c:pt idx="1915">
                  <c:v>30.67</c:v>
                </c:pt>
                <c:pt idx="1916">
                  <c:v>29.02</c:v>
                </c:pt>
                <c:pt idx="1917">
                  <c:v>18.901340368035001</c:v>
                </c:pt>
                <c:pt idx="1918">
                  <c:v>18.560274007946745</c:v>
                </c:pt>
                <c:pt idx="1919">
                  <c:v>17.782795834081526</c:v>
                </c:pt>
                <c:pt idx="1920">
                  <c:v>17.016664398262055</c:v>
                </c:pt>
                <c:pt idx="1921">
                  <c:v>18.010000000000002</c:v>
                </c:pt>
                <c:pt idx="1922">
                  <c:v>18.059999999999999</c:v>
                </c:pt>
                <c:pt idx="1923">
                  <c:v>20.79</c:v>
                </c:pt>
                <c:pt idx="1924">
                  <c:v>26.99</c:v>
                </c:pt>
                <c:pt idx="1925">
                  <c:v>29.23</c:v>
                </c:pt>
                <c:pt idx="1926">
                  <c:v>30.460000000000004</c:v>
                </c:pt>
                <c:pt idx="1927">
                  <c:v>31.509999999999998</c:v>
                </c:pt>
                <c:pt idx="1928">
                  <c:v>32.22</c:v>
                </c:pt>
                <c:pt idx="1929">
                  <c:v>31.630000000000003</c:v>
                </c:pt>
                <c:pt idx="1930">
                  <c:v>31.38</c:v>
                </c:pt>
                <c:pt idx="1931">
                  <c:v>31.159999999999997</c:v>
                </c:pt>
                <c:pt idx="1932">
                  <c:v>31.090000000000003</c:v>
                </c:pt>
                <c:pt idx="1933">
                  <c:v>30.839999999999996</c:v>
                </c:pt>
                <c:pt idx="1934">
                  <c:v>30.6</c:v>
                </c:pt>
                <c:pt idx="1935">
                  <c:v>30.7</c:v>
                </c:pt>
                <c:pt idx="1936">
                  <c:v>30.900000000000002</c:v>
                </c:pt>
                <c:pt idx="1937">
                  <c:v>39.600000000000009</c:v>
                </c:pt>
                <c:pt idx="1938">
                  <c:v>42.4</c:v>
                </c:pt>
                <c:pt idx="1939">
                  <c:v>34.04</c:v>
                </c:pt>
                <c:pt idx="1940">
                  <c:v>31.249999999999996</c:v>
                </c:pt>
                <c:pt idx="1941">
                  <c:v>31.079999999999995</c:v>
                </c:pt>
                <c:pt idx="1942">
                  <c:v>31.12</c:v>
                </c:pt>
                <c:pt idx="1943">
                  <c:v>29.170000000000005</c:v>
                </c:pt>
                <c:pt idx="1944">
                  <c:v>28.908997440273037</c:v>
                </c:pt>
                <c:pt idx="1945">
                  <c:v>28.43080693069307</c:v>
                </c:pt>
                <c:pt idx="1946">
                  <c:v>28.388170534268752</c:v>
                </c:pt>
                <c:pt idx="1947">
                  <c:v>28.463417338709675</c:v>
                </c:pt>
                <c:pt idx="1948">
                  <c:v>28.529999999999998</c:v>
                </c:pt>
                <c:pt idx="1949">
                  <c:v>30.550084169634182</c:v>
                </c:pt>
                <c:pt idx="1950">
                  <c:v>31.53</c:v>
                </c:pt>
                <c:pt idx="1951">
                  <c:v>38.119999999999997</c:v>
                </c:pt>
                <c:pt idx="1952">
                  <c:v>39.529999999999994</c:v>
                </c:pt>
                <c:pt idx="1953">
                  <c:v>35.729999999999997</c:v>
                </c:pt>
                <c:pt idx="1954">
                  <c:v>33.119999999999997</c:v>
                </c:pt>
                <c:pt idx="1955">
                  <c:v>31.73</c:v>
                </c:pt>
                <c:pt idx="1956">
                  <c:v>30.970000000000002</c:v>
                </c:pt>
                <c:pt idx="1957">
                  <c:v>30.989999999999995</c:v>
                </c:pt>
                <c:pt idx="1958">
                  <c:v>30.79</c:v>
                </c:pt>
                <c:pt idx="1959">
                  <c:v>30.83</c:v>
                </c:pt>
                <c:pt idx="1960">
                  <c:v>30.900000000000002</c:v>
                </c:pt>
                <c:pt idx="1961">
                  <c:v>31.749999999999993</c:v>
                </c:pt>
                <c:pt idx="1962">
                  <c:v>33.99</c:v>
                </c:pt>
                <c:pt idx="1963">
                  <c:v>32.799999999999997</c:v>
                </c:pt>
                <c:pt idx="1964">
                  <c:v>31.519999999999996</c:v>
                </c:pt>
                <c:pt idx="1965">
                  <c:v>31.119999999999997</c:v>
                </c:pt>
                <c:pt idx="1966">
                  <c:v>30.619999999999997</c:v>
                </c:pt>
                <c:pt idx="1967">
                  <c:v>29.589999999999996</c:v>
                </c:pt>
                <c:pt idx="1968">
                  <c:v>29.04</c:v>
                </c:pt>
                <c:pt idx="1969">
                  <c:v>28.99</c:v>
                </c:pt>
                <c:pt idx="1970">
                  <c:v>29.209999999999994</c:v>
                </c:pt>
                <c:pt idx="1971">
                  <c:v>28.87</c:v>
                </c:pt>
                <c:pt idx="1972">
                  <c:v>28.999999999999996</c:v>
                </c:pt>
                <c:pt idx="1973">
                  <c:v>30.140000000000004</c:v>
                </c:pt>
                <c:pt idx="1974">
                  <c:v>33.08</c:v>
                </c:pt>
                <c:pt idx="1975">
                  <c:v>41.13</c:v>
                </c:pt>
                <c:pt idx="1976">
                  <c:v>43.79</c:v>
                </c:pt>
                <c:pt idx="1977">
                  <c:v>41.09</c:v>
                </c:pt>
                <c:pt idx="1978">
                  <c:v>35.71</c:v>
                </c:pt>
                <c:pt idx="1979">
                  <c:v>33.01</c:v>
                </c:pt>
                <c:pt idx="1980">
                  <c:v>31.31</c:v>
                </c:pt>
                <c:pt idx="1981">
                  <c:v>30.29</c:v>
                </c:pt>
                <c:pt idx="1982">
                  <c:v>29.9</c:v>
                </c:pt>
                <c:pt idx="1983">
                  <c:v>30.07</c:v>
                </c:pt>
                <c:pt idx="1984">
                  <c:v>30.310000000000002</c:v>
                </c:pt>
                <c:pt idx="1985">
                  <c:v>30.84</c:v>
                </c:pt>
                <c:pt idx="1986">
                  <c:v>31.379999999999995</c:v>
                </c:pt>
                <c:pt idx="1987">
                  <c:v>30.66</c:v>
                </c:pt>
                <c:pt idx="1988">
                  <c:v>30.050000000000004</c:v>
                </c:pt>
                <c:pt idx="1989">
                  <c:v>29.83</c:v>
                </c:pt>
                <c:pt idx="1990">
                  <c:v>29.5</c:v>
                </c:pt>
                <c:pt idx="1991">
                  <c:v>28.93</c:v>
                </c:pt>
                <c:pt idx="1992">
                  <c:v>28.698410364145658</c:v>
                </c:pt>
                <c:pt idx="1993">
                  <c:v>28.183524389549778</c:v>
                </c:pt>
                <c:pt idx="1994">
                  <c:v>27.902987224512653</c:v>
                </c:pt>
                <c:pt idx="1995">
                  <c:v>26.994108135894198</c:v>
                </c:pt>
                <c:pt idx="1996">
                  <c:v>26.915331646244006</c:v>
                </c:pt>
                <c:pt idx="1997">
                  <c:v>27.454415120941093</c:v>
                </c:pt>
                <c:pt idx="1998">
                  <c:v>28.27445622160862</c:v>
                </c:pt>
                <c:pt idx="1999">
                  <c:v>28.859999999999996</c:v>
                </c:pt>
                <c:pt idx="2000">
                  <c:v>29.180000000000003</c:v>
                </c:pt>
                <c:pt idx="2001">
                  <c:v>28.983384445012351</c:v>
                </c:pt>
                <c:pt idx="2002">
                  <c:v>28.205337607604019</c:v>
                </c:pt>
                <c:pt idx="2003">
                  <c:v>25.39</c:v>
                </c:pt>
                <c:pt idx="2004">
                  <c:v>22.91</c:v>
                </c:pt>
                <c:pt idx="2005">
                  <c:v>21.09</c:v>
                </c:pt>
                <c:pt idx="2006">
                  <c:v>15.969999999999999</c:v>
                </c:pt>
                <c:pt idx="2007">
                  <c:v>20.07</c:v>
                </c:pt>
                <c:pt idx="2008">
                  <c:v>23.469999999999995</c:v>
                </c:pt>
                <c:pt idx="2009">
                  <c:v>28.091215304401167</c:v>
                </c:pt>
                <c:pt idx="2010">
                  <c:v>33.798637068101016</c:v>
                </c:pt>
                <c:pt idx="2011">
                  <c:v>31.83</c:v>
                </c:pt>
                <c:pt idx="2012">
                  <c:v>29.96</c:v>
                </c:pt>
                <c:pt idx="2013">
                  <c:v>29.65</c:v>
                </c:pt>
                <c:pt idx="2014">
                  <c:v>29.329999999999995</c:v>
                </c:pt>
                <c:pt idx="2015">
                  <c:v>28.457928830172602</c:v>
                </c:pt>
                <c:pt idx="2016">
                  <c:v>28.740000000000002</c:v>
                </c:pt>
                <c:pt idx="2017">
                  <c:v>27.94</c:v>
                </c:pt>
                <c:pt idx="2018">
                  <c:v>26.970000000000002</c:v>
                </c:pt>
                <c:pt idx="2019">
                  <c:v>26.62</c:v>
                </c:pt>
                <c:pt idx="2020">
                  <c:v>24.650000000000002</c:v>
                </c:pt>
                <c:pt idx="2021">
                  <c:v>26.87</c:v>
                </c:pt>
                <c:pt idx="2022">
                  <c:v>27.67</c:v>
                </c:pt>
                <c:pt idx="2023">
                  <c:v>28.239999999999995</c:v>
                </c:pt>
                <c:pt idx="2024">
                  <c:v>28.579999999999995</c:v>
                </c:pt>
                <c:pt idx="2025">
                  <c:v>28.44</c:v>
                </c:pt>
                <c:pt idx="2026">
                  <c:v>27.890000000000004</c:v>
                </c:pt>
                <c:pt idx="2027">
                  <c:v>27.31</c:v>
                </c:pt>
                <c:pt idx="2028">
                  <c:v>24.29</c:v>
                </c:pt>
                <c:pt idx="2029">
                  <c:v>23.459999999999997</c:v>
                </c:pt>
                <c:pt idx="2030">
                  <c:v>23.2</c:v>
                </c:pt>
                <c:pt idx="2031">
                  <c:v>23.36</c:v>
                </c:pt>
                <c:pt idx="2032">
                  <c:v>22.295584451901565</c:v>
                </c:pt>
                <c:pt idx="2033">
                  <c:v>30.238348377653086</c:v>
                </c:pt>
                <c:pt idx="2034">
                  <c:v>34.659999999999997</c:v>
                </c:pt>
                <c:pt idx="2035">
                  <c:v>33.289999999999992</c:v>
                </c:pt>
                <c:pt idx="2036">
                  <c:v>29.829999999999995</c:v>
                </c:pt>
                <c:pt idx="2037">
                  <c:v>29.619999999999997</c:v>
                </c:pt>
                <c:pt idx="2038">
                  <c:v>29.27</c:v>
                </c:pt>
                <c:pt idx="2039">
                  <c:v>28.25</c:v>
                </c:pt>
                <c:pt idx="2040">
                  <c:v>28.27</c:v>
                </c:pt>
                <c:pt idx="2041">
                  <c:v>28.010814708002883</c:v>
                </c:pt>
                <c:pt idx="2042">
                  <c:v>26.747215270413573</c:v>
                </c:pt>
                <c:pt idx="2043">
                  <c:v>27.032370386174527</c:v>
                </c:pt>
                <c:pt idx="2044">
                  <c:v>30.1</c:v>
                </c:pt>
                <c:pt idx="2045">
                  <c:v>32.54</c:v>
                </c:pt>
                <c:pt idx="2046">
                  <c:v>35.57</c:v>
                </c:pt>
                <c:pt idx="2047">
                  <c:v>36.54</c:v>
                </c:pt>
                <c:pt idx="2048">
                  <c:v>35.65</c:v>
                </c:pt>
                <c:pt idx="2049">
                  <c:v>34.090000000000003</c:v>
                </c:pt>
                <c:pt idx="2050">
                  <c:v>32.44</c:v>
                </c:pt>
                <c:pt idx="2051">
                  <c:v>30.439999999999998</c:v>
                </c:pt>
                <c:pt idx="2052">
                  <c:v>29.669999999999998</c:v>
                </c:pt>
                <c:pt idx="2053">
                  <c:v>29.110000000000003</c:v>
                </c:pt>
                <c:pt idx="2054">
                  <c:v>28.920000000000005</c:v>
                </c:pt>
                <c:pt idx="2055">
                  <c:v>29.18</c:v>
                </c:pt>
                <c:pt idx="2056">
                  <c:v>29.69</c:v>
                </c:pt>
                <c:pt idx="2057">
                  <c:v>29.909999999999997</c:v>
                </c:pt>
                <c:pt idx="2058">
                  <c:v>30.090000000000003</c:v>
                </c:pt>
                <c:pt idx="2059">
                  <c:v>29.89</c:v>
                </c:pt>
                <c:pt idx="2060">
                  <c:v>29.8</c:v>
                </c:pt>
                <c:pt idx="2061">
                  <c:v>29.509999999999998</c:v>
                </c:pt>
                <c:pt idx="2062">
                  <c:v>28.8089078422685</c:v>
                </c:pt>
                <c:pt idx="2063">
                  <c:v>28.018155366084724</c:v>
                </c:pt>
                <c:pt idx="2064">
                  <c:v>27.363638351555927</c:v>
                </c:pt>
                <c:pt idx="2065">
                  <c:v>26.90350562241073</c:v>
                </c:pt>
                <c:pt idx="2066">
                  <c:v>27.010731281379609</c:v>
                </c:pt>
                <c:pt idx="2067">
                  <c:v>27.720000000000006</c:v>
                </c:pt>
                <c:pt idx="2068">
                  <c:v>29.060000000000002</c:v>
                </c:pt>
                <c:pt idx="2069">
                  <c:v>33.35542033626902</c:v>
                </c:pt>
                <c:pt idx="2070">
                  <c:v>44.56212249848393</c:v>
                </c:pt>
                <c:pt idx="2071">
                  <c:v>50</c:v>
                </c:pt>
                <c:pt idx="2072">
                  <c:v>43.03</c:v>
                </c:pt>
                <c:pt idx="2073">
                  <c:v>39.94</c:v>
                </c:pt>
                <c:pt idx="2074">
                  <c:v>37.4</c:v>
                </c:pt>
                <c:pt idx="2075">
                  <c:v>32.29</c:v>
                </c:pt>
                <c:pt idx="2076">
                  <c:v>30.710000000000008</c:v>
                </c:pt>
                <c:pt idx="2077">
                  <c:v>29.980000000000004</c:v>
                </c:pt>
                <c:pt idx="2078">
                  <c:v>29.999999999999996</c:v>
                </c:pt>
                <c:pt idx="2079">
                  <c:v>30.05</c:v>
                </c:pt>
                <c:pt idx="2080">
                  <c:v>32.159999999999997</c:v>
                </c:pt>
                <c:pt idx="2081">
                  <c:v>37.46</c:v>
                </c:pt>
                <c:pt idx="2082">
                  <c:v>41.41</c:v>
                </c:pt>
                <c:pt idx="2083">
                  <c:v>41.010000000000005</c:v>
                </c:pt>
                <c:pt idx="2084">
                  <c:v>36.4</c:v>
                </c:pt>
                <c:pt idx="2085">
                  <c:v>33.56</c:v>
                </c:pt>
                <c:pt idx="2086">
                  <c:v>28.9</c:v>
                </c:pt>
                <c:pt idx="2087">
                  <c:v>28.059999999999992</c:v>
                </c:pt>
                <c:pt idx="2088">
                  <c:v>26.71</c:v>
                </c:pt>
                <c:pt idx="2089">
                  <c:v>26.679999999999996</c:v>
                </c:pt>
                <c:pt idx="2090">
                  <c:v>26.89</c:v>
                </c:pt>
                <c:pt idx="2091">
                  <c:v>26.09</c:v>
                </c:pt>
                <c:pt idx="2092">
                  <c:v>26.950000000000003</c:v>
                </c:pt>
                <c:pt idx="2093">
                  <c:v>34.159999999999997</c:v>
                </c:pt>
                <c:pt idx="2094">
                  <c:v>39.559999999999995</c:v>
                </c:pt>
                <c:pt idx="2095">
                  <c:v>39.78</c:v>
                </c:pt>
                <c:pt idx="2096">
                  <c:v>33.769999999999996</c:v>
                </c:pt>
                <c:pt idx="2097">
                  <c:v>31.76</c:v>
                </c:pt>
                <c:pt idx="2098">
                  <c:v>30.519999999999996</c:v>
                </c:pt>
                <c:pt idx="2099">
                  <c:v>30.29</c:v>
                </c:pt>
                <c:pt idx="2100">
                  <c:v>30.029999999999998</c:v>
                </c:pt>
                <c:pt idx="2101">
                  <c:v>29.950000000000003</c:v>
                </c:pt>
                <c:pt idx="2102">
                  <c:v>29.749999999999996</c:v>
                </c:pt>
                <c:pt idx="2103">
                  <c:v>30.65</c:v>
                </c:pt>
                <c:pt idx="2104">
                  <c:v>31.779999999999998</c:v>
                </c:pt>
                <c:pt idx="2105">
                  <c:v>34.639999999999993</c:v>
                </c:pt>
                <c:pt idx="2106">
                  <c:v>39.5</c:v>
                </c:pt>
                <c:pt idx="2107">
                  <c:v>40.630000000000003</c:v>
                </c:pt>
                <c:pt idx="2108">
                  <c:v>37.61999999999999</c:v>
                </c:pt>
                <c:pt idx="2109">
                  <c:v>34.32</c:v>
                </c:pt>
                <c:pt idx="2110">
                  <c:v>29.989999999999991</c:v>
                </c:pt>
                <c:pt idx="2111">
                  <c:v>28.699999999999996</c:v>
                </c:pt>
                <c:pt idx="2112">
                  <c:v>28.019999999999996</c:v>
                </c:pt>
                <c:pt idx="2113">
                  <c:v>27.299999999999997</c:v>
                </c:pt>
                <c:pt idx="2114">
                  <c:v>27.25</c:v>
                </c:pt>
                <c:pt idx="2115">
                  <c:v>27.69</c:v>
                </c:pt>
                <c:pt idx="2116">
                  <c:v>28.809999999999995</c:v>
                </c:pt>
                <c:pt idx="2117">
                  <c:v>35.710000000000008</c:v>
                </c:pt>
                <c:pt idx="2118">
                  <c:v>43.06</c:v>
                </c:pt>
                <c:pt idx="2119">
                  <c:v>42.539998410174881</c:v>
                </c:pt>
                <c:pt idx="2120">
                  <c:v>36.325784677076371</c:v>
                </c:pt>
                <c:pt idx="2121">
                  <c:v>36.654996423827534</c:v>
                </c:pt>
                <c:pt idx="2122">
                  <c:v>34.601437956204379</c:v>
                </c:pt>
                <c:pt idx="2123">
                  <c:v>33.128653302492928</c:v>
                </c:pt>
                <c:pt idx="2124">
                  <c:v>31.041199837199837</c:v>
                </c:pt>
                <c:pt idx="2125">
                  <c:v>29.696761336889999</c:v>
                </c:pt>
                <c:pt idx="2126">
                  <c:v>29.141953701545866</c:v>
                </c:pt>
                <c:pt idx="2127">
                  <c:v>29.021455801211559</c:v>
                </c:pt>
                <c:pt idx="2128">
                  <c:v>29.746879117259549</c:v>
                </c:pt>
                <c:pt idx="2129">
                  <c:v>30.658182127225601</c:v>
                </c:pt>
                <c:pt idx="2130">
                  <c:v>31.341829515801681</c:v>
                </c:pt>
                <c:pt idx="2131">
                  <c:v>30.299578698690816</c:v>
                </c:pt>
                <c:pt idx="2132">
                  <c:v>29.869999999999997</c:v>
                </c:pt>
                <c:pt idx="2133">
                  <c:v>28.759999999999998</c:v>
                </c:pt>
                <c:pt idx="2134">
                  <c:v>28.01</c:v>
                </c:pt>
                <c:pt idx="2135">
                  <c:v>26.91</c:v>
                </c:pt>
                <c:pt idx="2136">
                  <c:v>24.769999999999996</c:v>
                </c:pt>
                <c:pt idx="2137">
                  <c:v>24.449999999999996</c:v>
                </c:pt>
                <c:pt idx="2138">
                  <c:v>23.05</c:v>
                </c:pt>
                <c:pt idx="2139">
                  <c:v>23.45</c:v>
                </c:pt>
                <c:pt idx="2140">
                  <c:v>27.373836570531683</c:v>
                </c:pt>
                <c:pt idx="2141">
                  <c:v>32.931331171755382</c:v>
                </c:pt>
                <c:pt idx="2142">
                  <c:v>37.04</c:v>
                </c:pt>
                <c:pt idx="2143">
                  <c:v>37.968713664896185</c:v>
                </c:pt>
                <c:pt idx="2144">
                  <c:v>36.667574981711773</c:v>
                </c:pt>
                <c:pt idx="2145">
                  <c:v>35.93</c:v>
                </c:pt>
                <c:pt idx="2146">
                  <c:v>33.32</c:v>
                </c:pt>
                <c:pt idx="2147">
                  <c:v>30.132042132416167</c:v>
                </c:pt>
                <c:pt idx="2148">
                  <c:v>28.916031156381067</c:v>
                </c:pt>
                <c:pt idx="2149">
                  <c:v>28.7355208828846</c:v>
                </c:pt>
                <c:pt idx="2150">
                  <c:v>28.29</c:v>
                </c:pt>
                <c:pt idx="2151">
                  <c:v>28.360000000000003</c:v>
                </c:pt>
                <c:pt idx="2152">
                  <c:v>30.429999999999996</c:v>
                </c:pt>
                <c:pt idx="2153">
                  <c:v>33.840000000000003</c:v>
                </c:pt>
                <c:pt idx="2154">
                  <c:v>33.9</c:v>
                </c:pt>
                <c:pt idx="2155">
                  <c:v>29.869999999999997</c:v>
                </c:pt>
                <c:pt idx="2156">
                  <c:v>29.38</c:v>
                </c:pt>
                <c:pt idx="2157">
                  <c:v>28.660000000000004</c:v>
                </c:pt>
                <c:pt idx="2158">
                  <c:v>28.34</c:v>
                </c:pt>
                <c:pt idx="2159">
                  <c:v>26.43</c:v>
                </c:pt>
                <c:pt idx="2160">
                  <c:v>27.63</c:v>
                </c:pt>
                <c:pt idx="2161">
                  <c:v>27.179999999999996</c:v>
                </c:pt>
                <c:pt idx="2162">
                  <c:v>26.899999999999995</c:v>
                </c:pt>
                <c:pt idx="2163">
                  <c:v>27</c:v>
                </c:pt>
                <c:pt idx="2164">
                  <c:v>27.310000000000002</c:v>
                </c:pt>
                <c:pt idx="2165">
                  <c:v>29.869999999999997</c:v>
                </c:pt>
                <c:pt idx="2166">
                  <c:v>32.090000000000003</c:v>
                </c:pt>
                <c:pt idx="2167">
                  <c:v>34.420000000000009</c:v>
                </c:pt>
                <c:pt idx="2168">
                  <c:v>35.099999999999994</c:v>
                </c:pt>
                <c:pt idx="2169">
                  <c:v>28.865068493150687</c:v>
                </c:pt>
                <c:pt idx="2170">
                  <c:v>27.119058756417566</c:v>
                </c:pt>
                <c:pt idx="2171">
                  <c:v>26.081005679129202</c:v>
                </c:pt>
                <c:pt idx="2172">
                  <c:v>26.069999999999997</c:v>
                </c:pt>
                <c:pt idx="2173">
                  <c:v>25.29</c:v>
                </c:pt>
                <c:pt idx="2174">
                  <c:v>24.81</c:v>
                </c:pt>
                <c:pt idx="2175">
                  <c:v>25.672478302796524</c:v>
                </c:pt>
                <c:pt idx="2176">
                  <c:v>27.978532145623543</c:v>
                </c:pt>
                <c:pt idx="2177">
                  <c:v>33.659999999999997</c:v>
                </c:pt>
                <c:pt idx="2178">
                  <c:v>38.700000000000003</c:v>
                </c:pt>
                <c:pt idx="2179">
                  <c:v>39.54</c:v>
                </c:pt>
                <c:pt idx="2180">
                  <c:v>35.19</c:v>
                </c:pt>
                <c:pt idx="2181">
                  <c:v>34.450000000000003</c:v>
                </c:pt>
                <c:pt idx="2182">
                  <c:v>31.859999999999996</c:v>
                </c:pt>
                <c:pt idx="2183">
                  <c:v>32.92</c:v>
                </c:pt>
                <c:pt idx="2184">
                  <c:v>27.5</c:v>
                </c:pt>
                <c:pt idx="2185">
                  <c:v>26.769999999999996</c:v>
                </c:pt>
                <c:pt idx="2186">
                  <c:v>26.67</c:v>
                </c:pt>
                <c:pt idx="2187">
                  <c:v>26.490000000000002</c:v>
                </c:pt>
                <c:pt idx="2188">
                  <c:v>26.420000000000005</c:v>
                </c:pt>
                <c:pt idx="2189">
                  <c:v>26.649999999999995</c:v>
                </c:pt>
                <c:pt idx="2190">
                  <c:v>27.14</c:v>
                </c:pt>
                <c:pt idx="2191">
                  <c:v>29.06</c:v>
                </c:pt>
                <c:pt idx="2192">
                  <c:v>29.559999999999995</c:v>
                </c:pt>
                <c:pt idx="2193">
                  <c:v>28.54</c:v>
                </c:pt>
                <c:pt idx="2194">
                  <c:v>28.2</c:v>
                </c:pt>
                <c:pt idx="2195">
                  <c:v>27.45</c:v>
                </c:pt>
                <c:pt idx="2196">
                  <c:v>26.82</c:v>
                </c:pt>
                <c:pt idx="2197">
                  <c:v>26.360000000000003</c:v>
                </c:pt>
                <c:pt idx="2198">
                  <c:v>26.02</c:v>
                </c:pt>
                <c:pt idx="2199">
                  <c:v>23.726419690001702</c:v>
                </c:pt>
                <c:pt idx="2200">
                  <c:v>26.179118825100133</c:v>
                </c:pt>
                <c:pt idx="2201">
                  <c:v>29.372713178294571</c:v>
                </c:pt>
                <c:pt idx="2202">
                  <c:v>32.029999999999994</c:v>
                </c:pt>
                <c:pt idx="2203">
                  <c:v>29.400000000000002</c:v>
                </c:pt>
                <c:pt idx="2204">
                  <c:v>28.78</c:v>
                </c:pt>
                <c:pt idx="2205">
                  <c:v>28.259999999999998</c:v>
                </c:pt>
                <c:pt idx="2206">
                  <c:v>27.560000000000002</c:v>
                </c:pt>
                <c:pt idx="2207">
                  <c:v>28.14</c:v>
                </c:pt>
                <c:pt idx="2208">
                  <c:v>28.010000000000005</c:v>
                </c:pt>
                <c:pt idx="2209">
                  <c:v>27.949999999999996</c:v>
                </c:pt>
                <c:pt idx="2210">
                  <c:v>27.83</c:v>
                </c:pt>
                <c:pt idx="2211">
                  <c:v>28.160000000000004</c:v>
                </c:pt>
                <c:pt idx="2212">
                  <c:v>29.139999999999997</c:v>
                </c:pt>
                <c:pt idx="2213">
                  <c:v>35.996709211986683</c:v>
                </c:pt>
                <c:pt idx="2214">
                  <c:v>43.084350290914514</c:v>
                </c:pt>
                <c:pt idx="2215">
                  <c:v>47.480484976278341</c:v>
                </c:pt>
                <c:pt idx="2216">
                  <c:v>44.110460624071322</c:v>
                </c:pt>
                <c:pt idx="2217">
                  <c:v>47.27</c:v>
                </c:pt>
                <c:pt idx="2218">
                  <c:v>43.86999999999999</c:v>
                </c:pt>
                <c:pt idx="2219">
                  <c:v>37.885307276302854</c:v>
                </c:pt>
                <c:pt idx="2220">
                  <c:v>35.799999999999997</c:v>
                </c:pt>
                <c:pt idx="2221">
                  <c:v>31.450000000000003</c:v>
                </c:pt>
                <c:pt idx="2222">
                  <c:v>29.980000000000004</c:v>
                </c:pt>
                <c:pt idx="2223">
                  <c:v>30.959999999999997</c:v>
                </c:pt>
                <c:pt idx="2224">
                  <c:v>32.19</c:v>
                </c:pt>
                <c:pt idx="2225">
                  <c:v>37.248404638144741</c:v>
                </c:pt>
                <c:pt idx="2226">
                  <c:v>41.466263736263741</c:v>
                </c:pt>
                <c:pt idx="2227">
                  <c:v>43.377368642286683</c:v>
                </c:pt>
                <c:pt idx="2228">
                  <c:v>38.97</c:v>
                </c:pt>
                <c:pt idx="2229">
                  <c:v>35.172055455093428</c:v>
                </c:pt>
                <c:pt idx="2230">
                  <c:v>31.051248884924174</c:v>
                </c:pt>
                <c:pt idx="2231">
                  <c:v>31.497999999999998</c:v>
                </c:pt>
                <c:pt idx="2232">
                  <c:v>30.106257309941515</c:v>
                </c:pt>
                <c:pt idx="2233">
                  <c:v>29.283455637091389</c:v>
                </c:pt>
                <c:pt idx="2234">
                  <c:v>29.465697969543154</c:v>
                </c:pt>
                <c:pt idx="2235">
                  <c:v>29.798798391151333</c:v>
                </c:pt>
                <c:pt idx="2236">
                  <c:v>31.828538613861387</c:v>
                </c:pt>
                <c:pt idx="2237">
                  <c:v>35.182142346208863</c:v>
                </c:pt>
                <c:pt idx="2238">
                  <c:v>30.53828651685393</c:v>
                </c:pt>
                <c:pt idx="2239">
                  <c:v>31.4608732565191</c:v>
                </c:pt>
                <c:pt idx="2240">
                  <c:v>30.511044776119398</c:v>
                </c:pt>
                <c:pt idx="2241">
                  <c:v>30.115501196490296</c:v>
                </c:pt>
                <c:pt idx="2242">
                  <c:v>29.531239669421488</c:v>
                </c:pt>
                <c:pt idx="2243">
                  <c:v>29.057996323529409</c:v>
                </c:pt>
                <c:pt idx="2244">
                  <c:v>28.72743876689189</c:v>
                </c:pt>
                <c:pt idx="2245">
                  <c:v>28.312632151600329</c:v>
                </c:pt>
                <c:pt idx="2246">
                  <c:v>28.234976362279173</c:v>
                </c:pt>
                <c:pt idx="2247">
                  <c:v>19.19784104113409</c:v>
                </c:pt>
                <c:pt idx="2248">
                  <c:v>37.489999999999995</c:v>
                </c:pt>
                <c:pt idx="2249">
                  <c:v>31.495999695909983</c:v>
                </c:pt>
                <c:pt idx="2250">
                  <c:v>33.038212380798441</c:v>
                </c:pt>
                <c:pt idx="2251">
                  <c:v>34.003032957110605</c:v>
                </c:pt>
                <c:pt idx="2252">
                  <c:v>33.618869167224823</c:v>
                </c:pt>
                <c:pt idx="2253">
                  <c:v>30.869096167751266</c:v>
                </c:pt>
                <c:pt idx="2254">
                  <c:v>29.316367123287673</c:v>
                </c:pt>
                <c:pt idx="2255">
                  <c:v>26.705431831146608</c:v>
                </c:pt>
                <c:pt idx="2256">
                  <c:v>26.486915673192605</c:v>
                </c:pt>
                <c:pt idx="2257">
                  <c:v>26.385954639175253</c:v>
                </c:pt>
                <c:pt idx="2258">
                  <c:v>26.459884125144843</c:v>
                </c:pt>
                <c:pt idx="2259">
                  <c:v>26.379735594194564</c:v>
                </c:pt>
                <c:pt idx="2260">
                  <c:v>26.720000000000002</c:v>
                </c:pt>
                <c:pt idx="2261">
                  <c:v>29.469179750080102</c:v>
                </c:pt>
                <c:pt idx="2262">
                  <c:v>28.325404142973191</c:v>
                </c:pt>
                <c:pt idx="2263">
                  <c:v>30.137009957188894</c:v>
                </c:pt>
                <c:pt idx="2264">
                  <c:v>29.678484626647148</c:v>
                </c:pt>
                <c:pt idx="2265">
                  <c:v>29.254693739881269</c:v>
                </c:pt>
                <c:pt idx="2266">
                  <c:v>28.17</c:v>
                </c:pt>
                <c:pt idx="2267">
                  <c:v>6.3807070680139706</c:v>
                </c:pt>
                <c:pt idx="2268">
                  <c:v>4.3974223876211926</c:v>
                </c:pt>
                <c:pt idx="2269">
                  <c:v>4.7717788043726843</c:v>
                </c:pt>
                <c:pt idx="2270">
                  <c:v>4.7817864249391997</c:v>
                </c:pt>
                <c:pt idx="2271">
                  <c:v>4.91516895313507</c:v>
                </c:pt>
                <c:pt idx="2272">
                  <c:v>5.7085715531905601</c:v>
                </c:pt>
                <c:pt idx="2273">
                  <c:v>5.6428630687276229</c:v>
                </c:pt>
                <c:pt idx="2274">
                  <c:v>5.9212868626803212</c:v>
                </c:pt>
                <c:pt idx="2275">
                  <c:v>7.1719771371543928</c:v>
                </c:pt>
                <c:pt idx="2276">
                  <c:v>6.3549110879926447</c:v>
                </c:pt>
                <c:pt idx="2277">
                  <c:v>6.2497761309646771</c:v>
                </c:pt>
                <c:pt idx="2278">
                  <c:v>5.6927158680259726</c:v>
                </c:pt>
                <c:pt idx="2279">
                  <c:v>9.2299142106429457</c:v>
                </c:pt>
                <c:pt idx="2280">
                  <c:v>9.8699999999999992</c:v>
                </c:pt>
                <c:pt idx="2281">
                  <c:v>9.0399999999999991</c:v>
                </c:pt>
                <c:pt idx="2282">
                  <c:v>14.9</c:v>
                </c:pt>
                <c:pt idx="2283">
                  <c:v>22</c:v>
                </c:pt>
                <c:pt idx="2284">
                  <c:v>25.122621936122805</c:v>
                </c:pt>
                <c:pt idx="2285">
                  <c:v>29.846179627770482</c:v>
                </c:pt>
                <c:pt idx="2286">
                  <c:v>31.943568538189172</c:v>
                </c:pt>
                <c:pt idx="2287">
                  <c:v>32.42423942551887</c:v>
                </c:pt>
                <c:pt idx="2288">
                  <c:v>31.253743086390902</c:v>
                </c:pt>
                <c:pt idx="2289">
                  <c:v>30.642686675204633</c:v>
                </c:pt>
                <c:pt idx="2290">
                  <c:v>29.893168329550807</c:v>
                </c:pt>
                <c:pt idx="2291">
                  <c:v>29.154340916512467</c:v>
                </c:pt>
                <c:pt idx="2292">
                  <c:v>28.694148739806018</c:v>
                </c:pt>
                <c:pt idx="2293">
                  <c:v>28.33</c:v>
                </c:pt>
                <c:pt idx="2294">
                  <c:v>28.190000000000005</c:v>
                </c:pt>
                <c:pt idx="2295">
                  <c:v>28.08</c:v>
                </c:pt>
                <c:pt idx="2296">
                  <c:v>23.323789007449165</c:v>
                </c:pt>
                <c:pt idx="2297">
                  <c:v>23.669789181483981</c:v>
                </c:pt>
                <c:pt idx="2298">
                  <c:v>19.784929563686166</c:v>
                </c:pt>
                <c:pt idx="2299">
                  <c:v>28.44868206521739</c:v>
                </c:pt>
                <c:pt idx="2300">
                  <c:v>28.068072531242343</c:v>
                </c:pt>
                <c:pt idx="2301">
                  <c:v>17.259196275178645</c:v>
                </c:pt>
                <c:pt idx="2302">
                  <c:v>12.129148872777831</c:v>
                </c:pt>
                <c:pt idx="2303">
                  <c:v>5.1804047833605305</c:v>
                </c:pt>
                <c:pt idx="2304">
                  <c:v>4.6542931206380862</c:v>
                </c:pt>
                <c:pt idx="2305">
                  <c:v>3.5711306364339084</c:v>
                </c:pt>
                <c:pt idx="2306">
                  <c:v>3.7257473915431083</c:v>
                </c:pt>
                <c:pt idx="2307">
                  <c:v>20.870000000000005</c:v>
                </c:pt>
                <c:pt idx="2308">
                  <c:v>27.113968634473196</c:v>
                </c:pt>
                <c:pt idx="2309">
                  <c:v>28.330771762076242</c:v>
                </c:pt>
                <c:pt idx="2310">
                  <c:v>30.79398025016458</c:v>
                </c:pt>
                <c:pt idx="2311">
                  <c:v>31.613503109368661</c:v>
                </c:pt>
                <c:pt idx="2312">
                  <c:v>31.50345402241841</c:v>
                </c:pt>
                <c:pt idx="2313">
                  <c:v>31.134797267379341</c:v>
                </c:pt>
                <c:pt idx="2314">
                  <c:v>30.862801799320664</c:v>
                </c:pt>
                <c:pt idx="2315">
                  <c:v>30.357623502770991</c:v>
                </c:pt>
                <c:pt idx="2316">
                  <c:v>29.769648620205796</c:v>
                </c:pt>
                <c:pt idx="2317">
                  <c:v>28.725774518790104</c:v>
                </c:pt>
                <c:pt idx="2318">
                  <c:v>28.37</c:v>
                </c:pt>
                <c:pt idx="2319">
                  <c:v>28.109999999999996</c:v>
                </c:pt>
                <c:pt idx="2320">
                  <c:v>28.31</c:v>
                </c:pt>
                <c:pt idx="2321">
                  <c:v>29.831497205639529</c:v>
                </c:pt>
                <c:pt idx="2322">
                  <c:v>30.010658483204875</c:v>
                </c:pt>
                <c:pt idx="2323">
                  <c:v>28.64</c:v>
                </c:pt>
                <c:pt idx="2324">
                  <c:v>28.55</c:v>
                </c:pt>
                <c:pt idx="2325">
                  <c:v>27.929999999999996</c:v>
                </c:pt>
                <c:pt idx="2326">
                  <c:v>27.36</c:v>
                </c:pt>
                <c:pt idx="2327">
                  <c:v>27.980000000000004</c:v>
                </c:pt>
                <c:pt idx="2328">
                  <c:v>27.85</c:v>
                </c:pt>
                <c:pt idx="2329">
                  <c:v>27.829999999999995</c:v>
                </c:pt>
                <c:pt idx="2330">
                  <c:v>27.92</c:v>
                </c:pt>
                <c:pt idx="2331">
                  <c:v>27.99</c:v>
                </c:pt>
                <c:pt idx="2332">
                  <c:v>28.3</c:v>
                </c:pt>
                <c:pt idx="2333">
                  <c:v>28.240000000000002</c:v>
                </c:pt>
                <c:pt idx="2334">
                  <c:v>28.649999999999995</c:v>
                </c:pt>
                <c:pt idx="2335">
                  <c:v>28.72</c:v>
                </c:pt>
                <c:pt idx="2336">
                  <c:v>29.08</c:v>
                </c:pt>
                <c:pt idx="2337">
                  <c:v>29.12</c:v>
                </c:pt>
                <c:pt idx="2338">
                  <c:v>28.949999999999996</c:v>
                </c:pt>
                <c:pt idx="2339">
                  <c:v>28.68</c:v>
                </c:pt>
                <c:pt idx="2340">
                  <c:v>28.380000000000003</c:v>
                </c:pt>
                <c:pt idx="2341">
                  <c:v>27.81</c:v>
                </c:pt>
                <c:pt idx="2342">
                  <c:v>27.440000000000005</c:v>
                </c:pt>
                <c:pt idx="2343">
                  <c:v>27.66</c:v>
                </c:pt>
                <c:pt idx="2344">
                  <c:v>28.13</c:v>
                </c:pt>
                <c:pt idx="2345">
                  <c:v>28.35</c:v>
                </c:pt>
                <c:pt idx="2346">
                  <c:v>28.429999999999996</c:v>
                </c:pt>
                <c:pt idx="2347">
                  <c:v>28.520000000000003</c:v>
                </c:pt>
                <c:pt idx="2348">
                  <c:v>28.530000000000005</c:v>
                </c:pt>
                <c:pt idx="2349">
                  <c:v>28.510000000000005</c:v>
                </c:pt>
                <c:pt idx="2350">
                  <c:v>28.08</c:v>
                </c:pt>
                <c:pt idx="2351">
                  <c:v>28.090000000000003</c:v>
                </c:pt>
                <c:pt idx="2352">
                  <c:v>27.790000000000003</c:v>
                </c:pt>
                <c:pt idx="2353">
                  <c:v>27.630000000000003</c:v>
                </c:pt>
                <c:pt idx="2354">
                  <c:v>27.539999999999996</c:v>
                </c:pt>
                <c:pt idx="2355">
                  <c:v>27.55</c:v>
                </c:pt>
                <c:pt idx="2356">
                  <c:v>27.38</c:v>
                </c:pt>
                <c:pt idx="2357">
                  <c:v>27.610000000000003</c:v>
                </c:pt>
                <c:pt idx="2358">
                  <c:v>27.69</c:v>
                </c:pt>
                <c:pt idx="2359">
                  <c:v>28.14</c:v>
                </c:pt>
                <c:pt idx="2360">
                  <c:v>29.44</c:v>
                </c:pt>
                <c:pt idx="2361">
                  <c:v>27.759193209660484</c:v>
                </c:pt>
                <c:pt idx="2362">
                  <c:v>26.419497352524424</c:v>
                </c:pt>
                <c:pt idx="2363">
                  <c:v>24.133713253179511</c:v>
                </c:pt>
                <c:pt idx="2364">
                  <c:v>23.763851690014135</c:v>
                </c:pt>
                <c:pt idx="2365">
                  <c:v>22.969999999999995</c:v>
                </c:pt>
                <c:pt idx="2366">
                  <c:v>21.042985740720585</c:v>
                </c:pt>
                <c:pt idx="2367">
                  <c:v>20.247833275061186</c:v>
                </c:pt>
                <c:pt idx="2368">
                  <c:v>24.471912474155754</c:v>
                </c:pt>
                <c:pt idx="2369">
                  <c:v>32.368283537496268</c:v>
                </c:pt>
                <c:pt idx="2370">
                  <c:v>29.58</c:v>
                </c:pt>
                <c:pt idx="2371">
                  <c:v>27.870000000000005</c:v>
                </c:pt>
                <c:pt idx="2372">
                  <c:v>28.25</c:v>
                </c:pt>
                <c:pt idx="2373">
                  <c:v>26.419999999999998</c:v>
                </c:pt>
                <c:pt idx="2374">
                  <c:v>24.080000000000002</c:v>
                </c:pt>
                <c:pt idx="2375">
                  <c:v>24.449999999999996</c:v>
                </c:pt>
                <c:pt idx="2376">
                  <c:v>23.020000000000003</c:v>
                </c:pt>
                <c:pt idx="2377">
                  <c:v>20.36</c:v>
                </c:pt>
                <c:pt idx="2378">
                  <c:v>12.259999999999998</c:v>
                </c:pt>
                <c:pt idx="2379">
                  <c:v>20.072939989762432</c:v>
                </c:pt>
                <c:pt idx="2380">
                  <c:v>25.895895184524626</c:v>
                </c:pt>
                <c:pt idx="2381">
                  <c:v>27.669999999999998</c:v>
                </c:pt>
                <c:pt idx="2382">
                  <c:v>28.73</c:v>
                </c:pt>
                <c:pt idx="2383">
                  <c:v>28.79</c:v>
                </c:pt>
                <c:pt idx="2384">
                  <c:v>28.56</c:v>
                </c:pt>
                <c:pt idx="2385">
                  <c:v>28.15</c:v>
                </c:pt>
                <c:pt idx="2386">
                  <c:v>27.570000000000004</c:v>
                </c:pt>
                <c:pt idx="2387">
                  <c:v>24.52906258609606</c:v>
                </c:pt>
                <c:pt idx="2388">
                  <c:v>19.601323046246574</c:v>
                </c:pt>
                <c:pt idx="2389">
                  <c:v>12.507362559189026</c:v>
                </c:pt>
                <c:pt idx="2390">
                  <c:v>19.32205675368899</c:v>
                </c:pt>
                <c:pt idx="2391">
                  <c:v>21.63</c:v>
                </c:pt>
                <c:pt idx="2392">
                  <c:v>26.199999999999996</c:v>
                </c:pt>
                <c:pt idx="2393">
                  <c:v>26.649999999999995</c:v>
                </c:pt>
                <c:pt idx="2394">
                  <c:v>27</c:v>
                </c:pt>
                <c:pt idx="2395">
                  <c:v>26.83</c:v>
                </c:pt>
                <c:pt idx="2396">
                  <c:v>26.350000000000005</c:v>
                </c:pt>
                <c:pt idx="2397">
                  <c:v>22.099999999999998</c:v>
                </c:pt>
                <c:pt idx="2398">
                  <c:v>6.76</c:v>
                </c:pt>
                <c:pt idx="2399">
                  <c:v>4.97</c:v>
                </c:pt>
                <c:pt idx="2400">
                  <c:v>1.1780138626051664</c:v>
                </c:pt>
                <c:pt idx="2401">
                  <c:v>1.9692549599963001</c:v>
                </c:pt>
                <c:pt idx="2402">
                  <c:v>5.64</c:v>
                </c:pt>
                <c:pt idx="2403">
                  <c:v>10.38</c:v>
                </c:pt>
                <c:pt idx="2404">
                  <c:v>18.02</c:v>
                </c:pt>
                <c:pt idx="2405">
                  <c:v>24.88</c:v>
                </c:pt>
                <c:pt idx="2406">
                  <c:v>27.54</c:v>
                </c:pt>
                <c:pt idx="2407">
                  <c:v>27.7</c:v>
                </c:pt>
                <c:pt idx="2408">
                  <c:v>27.55</c:v>
                </c:pt>
                <c:pt idx="2409">
                  <c:v>27.49</c:v>
                </c:pt>
                <c:pt idx="2410">
                  <c:v>27.320000000000004</c:v>
                </c:pt>
                <c:pt idx="2411">
                  <c:v>27.15</c:v>
                </c:pt>
                <c:pt idx="2412">
                  <c:v>27.150000000000002</c:v>
                </c:pt>
                <c:pt idx="2413">
                  <c:v>26.79</c:v>
                </c:pt>
                <c:pt idx="2414">
                  <c:v>26.619999999999997</c:v>
                </c:pt>
                <c:pt idx="2415">
                  <c:v>26.9</c:v>
                </c:pt>
                <c:pt idx="2416">
                  <c:v>27.41</c:v>
                </c:pt>
                <c:pt idx="2417">
                  <c:v>27.779999999999998</c:v>
                </c:pt>
                <c:pt idx="2418">
                  <c:v>28.300000000000004</c:v>
                </c:pt>
                <c:pt idx="2419">
                  <c:v>28.18</c:v>
                </c:pt>
                <c:pt idx="2420">
                  <c:v>27.860000000000003</c:v>
                </c:pt>
                <c:pt idx="2421">
                  <c:v>26.92</c:v>
                </c:pt>
                <c:pt idx="2422">
                  <c:v>25.87</c:v>
                </c:pt>
                <c:pt idx="2423">
                  <c:v>25.990000000000002</c:v>
                </c:pt>
                <c:pt idx="2424">
                  <c:v>24.42</c:v>
                </c:pt>
                <c:pt idx="2425">
                  <c:v>23.02</c:v>
                </c:pt>
                <c:pt idx="2426">
                  <c:v>20.5</c:v>
                </c:pt>
                <c:pt idx="2427">
                  <c:v>23.009999999999998</c:v>
                </c:pt>
                <c:pt idx="2428">
                  <c:v>23.09</c:v>
                </c:pt>
                <c:pt idx="2429">
                  <c:v>28.129999999999995</c:v>
                </c:pt>
                <c:pt idx="2430">
                  <c:v>28.789999999999996</c:v>
                </c:pt>
                <c:pt idx="2431">
                  <c:v>28.839999999999996</c:v>
                </c:pt>
                <c:pt idx="2432">
                  <c:v>28.789999999999996</c:v>
                </c:pt>
                <c:pt idx="2433">
                  <c:v>29.135503221847195</c:v>
                </c:pt>
                <c:pt idx="2434">
                  <c:v>27.502293916568352</c:v>
                </c:pt>
                <c:pt idx="2435">
                  <c:v>27.86</c:v>
                </c:pt>
                <c:pt idx="2436">
                  <c:v>27.760000000000005</c:v>
                </c:pt>
                <c:pt idx="2437">
                  <c:v>27.539999999999996</c:v>
                </c:pt>
                <c:pt idx="2438">
                  <c:v>27.46</c:v>
                </c:pt>
                <c:pt idx="2439">
                  <c:v>27.11</c:v>
                </c:pt>
                <c:pt idx="2440">
                  <c:v>27.560000000000002</c:v>
                </c:pt>
                <c:pt idx="2441">
                  <c:v>28.3</c:v>
                </c:pt>
                <c:pt idx="2442">
                  <c:v>28.45</c:v>
                </c:pt>
                <c:pt idx="2443">
                  <c:v>28.46</c:v>
                </c:pt>
                <c:pt idx="2444">
                  <c:v>28.220000000000002</c:v>
                </c:pt>
                <c:pt idx="2445">
                  <c:v>27.32</c:v>
                </c:pt>
                <c:pt idx="2446">
                  <c:v>23.05</c:v>
                </c:pt>
                <c:pt idx="2447">
                  <c:v>18.010000000000002</c:v>
                </c:pt>
                <c:pt idx="2448">
                  <c:v>16.009999999999998</c:v>
                </c:pt>
                <c:pt idx="2449">
                  <c:v>17.95</c:v>
                </c:pt>
                <c:pt idx="2450">
                  <c:v>19.8</c:v>
                </c:pt>
                <c:pt idx="2451">
                  <c:v>20.02</c:v>
                </c:pt>
                <c:pt idx="2452">
                  <c:v>26.760000000000009</c:v>
                </c:pt>
                <c:pt idx="2453">
                  <c:v>27.809999999999995</c:v>
                </c:pt>
                <c:pt idx="2454">
                  <c:v>28.059999999999995</c:v>
                </c:pt>
                <c:pt idx="2455">
                  <c:v>28.38</c:v>
                </c:pt>
                <c:pt idx="2456">
                  <c:v>28.46</c:v>
                </c:pt>
                <c:pt idx="2457">
                  <c:v>28.47</c:v>
                </c:pt>
                <c:pt idx="2458">
                  <c:v>28.79112714535902</c:v>
                </c:pt>
                <c:pt idx="2459">
                  <c:v>27.178613477924092</c:v>
                </c:pt>
                <c:pt idx="2460">
                  <c:v>27.42</c:v>
                </c:pt>
                <c:pt idx="2461">
                  <c:v>27.339999999999996</c:v>
                </c:pt>
                <c:pt idx="2462">
                  <c:v>27.220000000000002</c:v>
                </c:pt>
                <c:pt idx="2463">
                  <c:v>27.589999999999996</c:v>
                </c:pt>
                <c:pt idx="2464">
                  <c:v>28.06</c:v>
                </c:pt>
                <c:pt idx="2465">
                  <c:v>28.180000000000003</c:v>
                </c:pt>
                <c:pt idx="2466">
                  <c:v>28.18</c:v>
                </c:pt>
                <c:pt idx="2467">
                  <c:v>28.279999999999998</c:v>
                </c:pt>
                <c:pt idx="2468">
                  <c:v>28.070000000000004</c:v>
                </c:pt>
                <c:pt idx="2469">
                  <c:v>27.770000000000003</c:v>
                </c:pt>
                <c:pt idx="2470">
                  <c:v>27.46</c:v>
                </c:pt>
                <c:pt idx="2471">
                  <c:v>27.42</c:v>
                </c:pt>
                <c:pt idx="2472">
                  <c:v>26.78</c:v>
                </c:pt>
                <c:pt idx="2473">
                  <c:v>26.65</c:v>
                </c:pt>
                <c:pt idx="2474">
                  <c:v>26.730000000000004</c:v>
                </c:pt>
                <c:pt idx="2475">
                  <c:v>26.689999999999998</c:v>
                </c:pt>
                <c:pt idx="2476">
                  <c:v>26.76</c:v>
                </c:pt>
                <c:pt idx="2477">
                  <c:v>26.93</c:v>
                </c:pt>
                <c:pt idx="2478">
                  <c:v>27.7</c:v>
                </c:pt>
                <c:pt idx="2479">
                  <c:v>28.459999999999997</c:v>
                </c:pt>
                <c:pt idx="2480">
                  <c:v>28.23</c:v>
                </c:pt>
                <c:pt idx="2481">
                  <c:v>27.82</c:v>
                </c:pt>
                <c:pt idx="2482">
                  <c:v>27.88</c:v>
                </c:pt>
                <c:pt idx="2483">
                  <c:v>27.310000000000002</c:v>
                </c:pt>
                <c:pt idx="2484">
                  <c:v>27.689999999999998</c:v>
                </c:pt>
                <c:pt idx="2485">
                  <c:v>27.65</c:v>
                </c:pt>
                <c:pt idx="2486">
                  <c:v>27.79</c:v>
                </c:pt>
                <c:pt idx="2487">
                  <c:v>28.339999999999996</c:v>
                </c:pt>
                <c:pt idx="2488">
                  <c:v>28.949999999999992</c:v>
                </c:pt>
                <c:pt idx="2489">
                  <c:v>29.49</c:v>
                </c:pt>
                <c:pt idx="2490">
                  <c:v>30.72</c:v>
                </c:pt>
                <c:pt idx="2491">
                  <c:v>32.14</c:v>
                </c:pt>
                <c:pt idx="2492">
                  <c:v>30.400000000000002</c:v>
                </c:pt>
                <c:pt idx="2493">
                  <c:v>29.87</c:v>
                </c:pt>
                <c:pt idx="2494">
                  <c:v>28.99</c:v>
                </c:pt>
                <c:pt idx="2495">
                  <c:v>30.119999999999997</c:v>
                </c:pt>
                <c:pt idx="2496">
                  <c:v>30.51</c:v>
                </c:pt>
                <c:pt idx="2497">
                  <c:v>28.780593869731799</c:v>
                </c:pt>
                <c:pt idx="2498">
                  <c:v>26.010974025974026</c:v>
                </c:pt>
                <c:pt idx="2499">
                  <c:v>27.82</c:v>
                </c:pt>
                <c:pt idx="2500">
                  <c:v>27.600000000000005</c:v>
                </c:pt>
                <c:pt idx="2501">
                  <c:v>27.88</c:v>
                </c:pt>
                <c:pt idx="2502">
                  <c:v>27.87</c:v>
                </c:pt>
                <c:pt idx="2503">
                  <c:v>28.359999999999996</c:v>
                </c:pt>
                <c:pt idx="2504">
                  <c:v>28.729999999999997</c:v>
                </c:pt>
                <c:pt idx="2505">
                  <c:v>28.77</c:v>
                </c:pt>
                <c:pt idx="2506">
                  <c:v>28.57</c:v>
                </c:pt>
                <c:pt idx="2507">
                  <c:v>28.24</c:v>
                </c:pt>
                <c:pt idx="2508">
                  <c:v>27.970000000000002</c:v>
                </c:pt>
                <c:pt idx="2509">
                  <c:v>26.430000000000003</c:v>
                </c:pt>
                <c:pt idx="2510">
                  <c:v>26.34</c:v>
                </c:pt>
                <c:pt idx="2511">
                  <c:v>25.55</c:v>
                </c:pt>
                <c:pt idx="2512">
                  <c:v>27.66</c:v>
                </c:pt>
                <c:pt idx="2513">
                  <c:v>27.909999999999997</c:v>
                </c:pt>
                <c:pt idx="2514">
                  <c:v>28.15</c:v>
                </c:pt>
                <c:pt idx="2515">
                  <c:v>28.48</c:v>
                </c:pt>
                <c:pt idx="2516">
                  <c:v>28.39</c:v>
                </c:pt>
                <c:pt idx="2517">
                  <c:v>27.79</c:v>
                </c:pt>
                <c:pt idx="2518">
                  <c:v>27.58</c:v>
                </c:pt>
                <c:pt idx="2519">
                  <c:v>28.370000000000005</c:v>
                </c:pt>
                <c:pt idx="2520">
                  <c:v>28.19</c:v>
                </c:pt>
                <c:pt idx="2521">
                  <c:v>28.13</c:v>
                </c:pt>
                <c:pt idx="2522">
                  <c:v>28.07</c:v>
                </c:pt>
                <c:pt idx="2523">
                  <c:v>28.129999999999995</c:v>
                </c:pt>
                <c:pt idx="2524">
                  <c:v>28.320000000000004</c:v>
                </c:pt>
                <c:pt idx="2525">
                  <c:v>28.32</c:v>
                </c:pt>
                <c:pt idx="2526">
                  <c:v>28.21</c:v>
                </c:pt>
                <c:pt idx="2527">
                  <c:v>28.46</c:v>
                </c:pt>
                <c:pt idx="2528">
                  <c:v>28.45</c:v>
                </c:pt>
                <c:pt idx="2529">
                  <c:v>28.559999999999995</c:v>
                </c:pt>
                <c:pt idx="2530">
                  <c:v>28.739999999999995</c:v>
                </c:pt>
                <c:pt idx="2531">
                  <c:v>28.510000000000005</c:v>
                </c:pt>
                <c:pt idx="2532">
                  <c:v>28.33</c:v>
                </c:pt>
                <c:pt idx="2533">
                  <c:v>27.96</c:v>
                </c:pt>
                <c:pt idx="2534">
                  <c:v>27.7</c:v>
                </c:pt>
                <c:pt idx="2535">
                  <c:v>27.740000000000006</c:v>
                </c:pt>
                <c:pt idx="2536">
                  <c:v>25.466255170219533</c:v>
                </c:pt>
                <c:pt idx="2537">
                  <c:v>31.018488008342029</c:v>
                </c:pt>
                <c:pt idx="2538">
                  <c:v>31.07</c:v>
                </c:pt>
                <c:pt idx="2539">
                  <c:v>31.99</c:v>
                </c:pt>
                <c:pt idx="2540">
                  <c:v>31.76</c:v>
                </c:pt>
                <c:pt idx="2541">
                  <c:v>30.9</c:v>
                </c:pt>
                <c:pt idx="2542">
                  <c:v>29.729999999999997</c:v>
                </c:pt>
                <c:pt idx="2543">
                  <c:v>28.568729068673566</c:v>
                </c:pt>
                <c:pt idx="2544">
                  <c:v>24.009999999999998</c:v>
                </c:pt>
                <c:pt idx="2545">
                  <c:v>22.07</c:v>
                </c:pt>
                <c:pt idx="2546">
                  <c:v>21.08</c:v>
                </c:pt>
                <c:pt idx="2547">
                  <c:v>27.670000000000005</c:v>
                </c:pt>
                <c:pt idx="2548">
                  <c:v>27.949999999999996</c:v>
                </c:pt>
                <c:pt idx="2549">
                  <c:v>28.209999999999997</c:v>
                </c:pt>
                <c:pt idx="2550">
                  <c:v>27.514128841455577</c:v>
                </c:pt>
                <c:pt idx="2551">
                  <c:v>29.826299879081013</c:v>
                </c:pt>
                <c:pt idx="2552">
                  <c:v>30.169999999999998</c:v>
                </c:pt>
                <c:pt idx="2553">
                  <c:v>29.600000000000005</c:v>
                </c:pt>
                <c:pt idx="2554">
                  <c:v>29.006131799754876</c:v>
                </c:pt>
                <c:pt idx="2555">
                  <c:v>28.33</c:v>
                </c:pt>
                <c:pt idx="2556">
                  <c:v>28.160000000000004</c:v>
                </c:pt>
                <c:pt idx="2557">
                  <c:v>27.890000000000004</c:v>
                </c:pt>
                <c:pt idx="2558">
                  <c:v>27.999999999999996</c:v>
                </c:pt>
                <c:pt idx="2559">
                  <c:v>28.05</c:v>
                </c:pt>
                <c:pt idx="2560">
                  <c:v>27.95</c:v>
                </c:pt>
                <c:pt idx="2561">
                  <c:v>26.15814700605517</c:v>
                </c:pt>
                <c:pt idx="2562">
                  <c:v>31.449107428327828</c:v>
                </c:pt>
                <c:pt idx="2563">
                  <c:v>31.489999999999995</c:v>
                </c:pt>
                <c:pt idx="2564">
                  <c:v>30.85</c:v>
                </c:pt>
                <c:pt idx="2565">
                  <c:v>29.789999999999996</c:v>
                </c:pt>
                <c:pt idx="2566">
                  <c:v>29.340000000000003</c:v>
                </c:pt>
                <c:pt idx="2567">
                  <c:v>29.05</c:v>
                </c:pt>
                <c:pt idx="2568">
                  <c:v>28.359999999999996</c:v>
                </c:pt>
                <c:pt idx="2569">
                  <c:v>27.77</c:v>
                </c:pt>
                <c:pt idx="2570">
                  <c:v>27.259999999999998</c:v>
                </c:pt>
                <c:pt idx="2571">
                  <c:v>27.33453236432792</c:v>
                </c:pt>
                <c:pt idx="2572">
                  <c:v>30.542991133277919</c:v>
                </c:pt>
                <c:pt idx="2573">
                  <c:v>33.009999999999991</c:v>
                </c:pt>
                <c:pt idx="2574">
                  <c:v>42.31</c:v>
                </c:pt>
                <c:pt idx="2575">
                  <c:v>45.389999999999993</c:v>
                </c:pt>
                <c:pt idx="2576">
                  <c:v>41.05</c:v>
                </c:pt>
                <c:pt idx="2577">
                  <c:v>39.880000000000003</c:v>
                </c:pt>
                <c:pt idx="2578">
                  <c:v>37.97</c:v>
                </c:pt>
                <c:pt idx="2579">
                  <c:v>35.9</c:v>
                </c:pt>
                <c:pt idx="2580">
                  <c:v>33.83</c:v>
                </c:pt>
                <c:pt idx="2581">
                  <c:v>31.040000000000003</c:v>
                </c:pt>
                <c:pt idx="2582">
                  <c:v>30.517434712925425</c:v>
                </c:pt>
                <c:pt idx="2583">
                  <c:v>30.1</c:v>
                </c:pt>
                <c:pt idx="2584">
                  <c:v>30.852158083579571</c:v>
                </c:pt>
                <c:pt idx="2585">
                  <c:v>33.1</c:v>
                </c:pt>
                <c:pt idx="2586">
                  <c:v>36.619999999999997</c:v>
                </c:pt>
                <c:pt idx="2587">
                  <c:v>36.72999999999999</c:v>
                </c:pt>
                <c:pt idx="2588">
                  <c:v>34.589999999999996</c:v>
                </c:pt>
                <c:pt idx="2589">
                  <c:v>31.89</c:v>
                </c:pt>
                <c:pt idx="2590">
                  <c:v>30.070000000000004</c:v>
                </c:pt>
                <c:pt idx="2591">
                  <c:v>30.35</c:v>
                </c:pt>
                <c:pt idx="2592">
                  <c:v>30.02</c:v>
                </c:pt>
                <c:pt idx="2593">
                  <c:v>29.94</c:v>
                </c:pt>
                <c:pt idx="2594">
                  <c:v>30.25</c:v>
                </c:pt>
                <c:pt idx="2595">
                  <c:v>30.83</c:v>
                </c:pt>
                <c:pt idx="2596">
                  <c:v>31.810000000000002</c:v>
                </c:pt>
                <c:pt idx="2597">
                  <c:v>38.9</c:v>
                </c:pt>
                <c:pt idx="2598">
                  <c:v>46.88</c:v>
                </c:pt>
                <c:pt idx="2599">
                  <c:v>48.379999999999995</c:v>
                </c:pt>
                <c:pt idx="2600">
                  <c:v>43.67</c:v>
                </c:pt>
                <c:pt idx="2601">
                  <c:v>38.97</c:v>
                </c:pt>
                <c:pt idx="2602">
                  <c:v>37.4</c:v>
                </c:pt>
                <c:pt idx="2603">
                  <c:v>37.1</c:v>
                </c:pt>
                <c:pt idx="2604">
                  <c:v>36.61</c:v>
                </c:pt>
                <c:pt idx="2605">
                  <c:v>34.470000000000006</c:v>
                </c:pt>
                <c:pt idx="2606">
                  <c:v>33.070000000000007</c:v>
                </c:pt>
                <c:pt idx="2607">
                  <c:v>33.729999999999997</c:v>
                </c:pt>
                <c:pt idx="2608">
                  <c:v>36</c:v>
                </c:pt>
                <c:pt idx="2609">
                  <c:v>37.630000000000003</c:v>
                </c:pt>
                <c:pt idx="2610">
                  <c:v>38.31</c:v>
                </c:pt>
                <c:pt idx="2611">
                  <c:v>39.910000000000004</c:v>
                </c:pt>
                <c:pt idx="2612">
                  <c:v>35.75</c:v>
                </c:pt>
                <c:pt idx="2613">
                  <c:v>32.97</c:v>
                </c:pt>
                <c:pt idx="2614">
                  <c:v>30.510000000000005</c:v>
                </c:pt>
                <c:pt idx="2615">
                  <c:v>29.2</c:v>
                </c:pt>
                <c:pt idx="2616">
                  <c:v>28.980000000000004</c:v>
                </c:pt>
                <c:pt idx="2617">
                  <c:v>28.99</c:v>
                </c:pt>
                <c:pt idx="2618">
                  <c:v>28.98</c:v>
                </c:pt>
                <c:pt idx="2619">
                  <c:v>29.04</c:v>
                </c:pt>
                <c:pt idx="2620">
                  <c:v>29.33</c:v>
                </c:pt>
                <c:pt idx="2621">
                  <c:v>31.249999999999996</c:v>
                </c:pt>
                <c:pt idx="2622">
                  <c:v>35.118927886839849</c:v>
                </c:pt>
                <c:pt idx="2623">
                  <c:v>34.743961012028201</c:v>
                </c:pt>
                <c:pt idx="2624">
                  <c:v>32.605565165225222</c:v>
                </c:pt>
                <c:pt idx="2625">
                  <c:v>31.710971674435285</c:v>
                </c:pt>
                <c:pt idx="2626">
                  <c:v>30.460000000000004</c:v>
                </c:pt>
                <c:pt idx="2627">
                  <c:v>30.100000000000005</c:v>
                </c:pt>
                <c:pt idx="2628">
                  <c:v>29.670000000000005</c:v>
                </c:pt>
                <c:pt idx="2629">
                  <c:v>29.370000000000005</c:v>
                </c:pt>
                <c:pt idx="2630">
                  <c:v>29.17</c:v>
                </c:pt>
                <c:pt idx="2631">
                  <c:v>29.15</c:v>
                </c:pt>
                <c:pt idx="2632">
                  <c:v>29.189999999999998</c:v>
                </c:pt>
                <c:pt idx="2633">
                  <c:v>29.05</c:v>
                </c:pt>
                <c:pt idx="2634">
                  <c:v>28.96</c:v>
                </c:pt>
                <c:pt idx="2635">
                  <c:v>28.910000000000004</c:v>
                </c:pt>
                <c:pt idx="2636">
                  <c:v>29.05</c:v>
                </c:pt>
                <c:pt idx="2637">
                  <c:v>28.379999999999995</c:v>
                </c:pt>
                <c:pt idx="2638">
                  <c:v>26.14</c:v>
                </c:pt>
                <c:pt idx="2639">
                  <c:v>21.55</c:v>
                </c:pt>
                <c:pt idx="2640">
                  <c:v>19.929999999999996</c:v>
                </c:pt>
                <c:pt idx="2641">
                  <c:v>19.71</c:v>
                </c:pt>
                <c:pt idx="2642">
                  <c:v>20.43</c:v>
                </c:pt>
                <c:pt idx="2643">
                  <c:v>22.16</c:v>
                </c:pt>
                <c:pt idx="2644">
                  <c:v>23.299999999999994</c:v>
                </c:pt>
                <c:pt idx="2645">
                  <c:v>23.620000000000005</c:v>
                </c:pt>
                <c:pt idx="2646">
                  <c:v>29.070000000000004</c:v>
                </c:pt>
                <c:pt idx="2647">
                  <c:v>29.14</c:v>
                </c:pt>
                <c:pt idx="2648">
                  <c:v>26.79</c:v>
                </c:pt>
                <c:pt idx="2649">
                  <c:v>24.2</c:v>
                </c:pt>
                <c:pt idx="2650">
                  <c:v>22.449999999999996</c:v>
                </c:pt>
                <c:pt idx="2651">
                  <c:v>22.029999999999998</c:v>
                </c:pt>
                <c:pt idx="2652">
                  <c:v>20.64</c:v>
                </c:pt>
                <c:pt idx="2653">
                  <c:v>20.29</c:v>
                </c:pt>
                <c:pt idx="2654">
                  <c:v>18.55</c:v>
                </c:pt>
                <c:pt idx="2655">
                  <c:v>16.090000000000003</c:v>
                </c:pt>
                <c:pt idx="2656">
                  <c:v>16.566308890448486</c:v>
                </c:pt>
                <c:pt idx="2657">
                  <c:v>18.969999999999995</c:v>
                </c:pt>
                <c:pt idx="2658">
                  <c:v>16.010859140390391</c:v>
                </c:pt>
                <c:pt idx="2659">
                  <c:v>7.6731449420517954</c:v>
                </c:pt>
                <c:pt idx="2660">
                  <c:v>7.6542831506450657</c:v>
                </c:pt>
                <c:pt idx="2661">
                  <c:v>1.1254379344587886</c:v>
                </c:pt>
                <c:pt idx="2662">
                  <c:v>0.49379683892736637</c:v>
                </c:pt>
                <c:pt idx="2663">
                  <c:v>0.29008301828956778</c:v>
                </c:pt>
                <c:pt idx="2664">
                  <c:v>0.04</c:v>
                </c:pt>
                <c:pt idx="2665">
                  <c:v>0.08</c:v>
                </c:pt>
                <c:pt idx="2666">
                  <c:v>0.66190107254128872</c:v>
                </c:pt>
                <c:pt idx="2667">
                  <c:v>0.725612161700113</c:v>
                </c:pt>
                <c:pt idx="2668">
                  <c:v>3.0070026995950605</c:v>
                </c:pt>
                <c:pt idx="2669">
                  <c:v>9.19</c:v>
                </c:pt>
                <c:pt idx="2670">
                  <c:v>10.720000000000002</c:v>
                </c:pt>
                <c:pt idx="2671">
                  <c:v>13.089999999999998</c:v>
                </c:pt>
                <c:pt idx="2672">
                  <c:v>13.469999999999999</c:v>
                </c:pt>
                <c:pt idx="2673">
                  <c:v>9.5399999999999991</c:v>
                </c:pt>
                <c:pt idx="2674">
                  <c:v>9.1199999999999992</c:v>
                </c:pt>
                <c:pt idx="2675">
                  <c:v>9.0399999999999991</c:v>
                </c:pt>
                <c:pt idx="2676">
                  <c:v>8.1</c:v>
                </c:pt>
                <c:pt idx="2677">
                  <c:v>5.0200000000000005</c:v>
                </c:pt>
                <c:pt idx="2678">
                  <c:v>7.1099999999999994</c:v>
                </c:pt>
                <c:pt idx="2679">
                  <c:v>9.0499999999999989</c:v>
                </c:pt>
                <c:pt idx="2680">
                  <c:v>10.719999999999999</c:v>
                </c:pt>
                <c:pt idx="2681">
                  <c:v>20.79</c:v>
                </c:pt>
                <c:pt idx="2682">
                  <c:v>23.01</c:v>
                </c:pt>
                <c:pt idx="2683">
                  <c:v>24.5</c:v>
                </c:pt>
                <c:pt idx="2684">
                  <c:v>24.199999999999996</c:v>
                </c:pt>
                <c:pt idx="2685">
                  <c:v>24</c:v>
                </c:pt>
                <c:pt idx="2686">
                  <c:v>20.233369459497013</c:v>
                </c:pt>
                <c:pt idx="2687">
                  <c:v>9.0399999999999991</c:v>
                </c:pt>
                <c:pt idx="2688">
                  <c:v>8.9700000000000006</c:v>
                </c:pt>
                <c:pt idx="2689">
                  <c:v>8.31</c:v>
                </c:pt>
                <c:pt idx="2690">
                  <c:v>8.94</c:v>
                </c:pt>
                <c:pt idx="2691">
                  <c:v>10.050000000000001</c:v>
                </c:pt>
                <c:pt idx="2692">
                  <c:v>9.0399999999999991</c:v>
                </c:pt>
                <c:pt idx="2693">
                  <c:v>11.459010121312181</c:v>
                </c:pt>
                <c:pt idx="2694">
                  <c:v>11.638579046213696</c:v>
                </c:pt>
                <c:pt idx="2695">
                  <c:v>12.558975665946726</c:v>
                </c:pt>
                <c:pt idx="2696">
                  <c:v>12.720628701090265</c:v>
                </c:pt>
                <c:pt idx="2697">
                  <c:v>8.2364028561142462</c:v>
                </c:pt>
                <c:pt idx="2698">
                  <c:v>7.0931471258850358</c:v>
                </c:pt>
                <c:pt idx="2699">
                  <c:v>4.7154697027719683</c:v>
                </c:pt>
                <c:pt idx="2700">
                  <c:v>-4.1438433969141055</c:v>
                </c:pt>
                <c:pt idx="2701">
                  <c:v>-9.8099128533499922</c:v>
                </c:pt>
                <c:pt idx="2702">
                  <c:v>-6.6289327079544362</c:v>
                </c:pt>
                <c:pt idx="2703">
                  <c:v>-0.10621427952266752</c:v>
                </c:pt>
                <c:pt idx="2704">
                  <c:v>7.9191688298596228</c:v>
                </c:pt>
                <c:pt idx="2705">
                  <c:v>22.194037423345033</c:v>
                </c:pt>
                <c:pt idx="2706">
                  <c:v>30.319639936015449</c:v>
                </c:pt>
                <c:pt idx="2707">
                  <c:v>30.73</c:v>
                </c:pt>
                <c:pt idx="2708">
                  <c:v>30.859999999999992</c:v>
                </c:pt>
                <c:pt idx="2709">
                  <c:v>30.42</c:v>
                </c:pt>
                <c:pt idx="2710">
                  <c:v>29.329999999999995</c:v>
                </c:pt>
                <c:pt idx="2711">
                  <c:v>28.870000000000005</c:v>
                </c:pt>
                <c:pt idx="2712">
                  <c:v>27.65</c:v>
                </c:pt>
                <c:pt idx="2713">
                  <c:v>27.42</c:v>
                </c:pt>
                <c:pt idx="2714">
                  <c:v>26.48</c:v>
                </c:pt>
                <c:pt idx="2715">
                  <c:v>27.46</c:v>
                </c:pt>
                <c:pt idx="2716">
                  <c:v>29.297488415199261</c:v>
                </c:pt>
                <c:pt idx="2717">
                  <c:v>30.030257571943952</c:v>
                </c:pt>
                <c:pt idx="2718">
                  <c:v>31.515995373483609</c:v>
                </c:pt>
                <c:pt idx="2719">
                  <c:v>31.972881568186466</c:v>
                </c:pt>
                <c:pt idx="2720">
                  <c:v>31.799999999999997</c:v>
                </c:pt>
                <c:pt idx="2721">
                  <c:v>24.060000000000002</c:v>
                </c:pt>
                <c:pt idx="2722">
                  <c:v>12.820000000000002</c:v>
                </c:pt>
                <c:pt idx="2723">
                  <c:v>9.0699999999999985</c:v>
                </c:pt>
                <c:pt idx="2724">
                  <c:v>20.010000000000005</c:v>
                </c:pt>
                <c:pt idx="2725">
                  <c:v>22.440000000000005</c:v>
                </c:pt>
                <c:pt idx="2726">
                  <c:v>24.899999999999995</c:v>
                </c:pt>
                <c:pt idx="2727">
                  <c:v>27.838872473509777</c:v>
                </c:pt>
                <c:pt idx="2728">
                  <c:v>29.474993484493098</c:v>
                </c:pt>
                <c:pt idx="2729">
                  <c:v>28.888417363440645</c:v>
                </c:pt>
                <c:pt idx="2730">
                  <c:v>31.119856805837493</c:v>
                </c:pt>
                <c:pt idx="2731">
                  <c:v>30.76989787621557</c:v>
                </c:pt>
                <c:pt idx="2732">
                  <c:v>31.434531946508173</c:v>
                </c:pt>
                <c:pt idx="2733">
                  <c:v>30.83</c:v>
                </c:pt>
                <c:pt idx="2734">
                  <c:v>29.06</c:v>
                </c:pt>
                <c:pt idx="2735">
                  <c:v>29.13</c:v>
                </c:pt>
                <c:pt idx="2736">
                  <c:v>29.080000000000002</c:v>
                </c:pt>
                <c:pt idx="2737">
                  <c:v>28.99</c:v>
                </c:pt>
                <c:pt idx="2738">
                  <c:v>29.019999999999996</c:v>
                </c:pt>
                <c:pt idx="2739">
                  <c:v>29.12</c:v>
                </c:pt>
                <c:pt idx="2740">
                  <c:v>29.77</c:v>
                </c:pt>
                <c:pt idx="2741">
                  <c:v>36.14</c:v>
                </c:pt>
                <c:pt idx="2742">
                  <c:v>41.17</c:v>
                </c:pt>
                <c:pt idx="2743">
                  <c:v>43</c:v>
                </c:pt>
                <c:pt idx="2744">
                  <c:v>41.94</c:v>
                </c:pt>
                <c:pt idx="2745">
                  <c:v>39.799999999999997</c:v>
                </c:pt>
                <c:pt idx="2746">
                  <c:v>38.1</c:v>
                </c:pt>
                <c:pt idx="2747">
                  <c:v>35.090000000000003</c:v>
                </c:pt>
                <c:pt idx="2748">
                  <c:v>33.909999999999997</c:v>
                </c:pt>
                <c:pt idx="2749">
                  <c:v>31.764007631032868</c:v>
                </c:pt>
                <c:pt idx="2750">
                  <c:v>31.59</c:v>
                </c:pt>
                <c:pt idx="2751">
                  <c:v>32.46</c:v>
                </c:pt>
                <c:pt idx="2752">
                  <c:v>36.549999999999997</c:v>
                </c:pt>
                <c:pt idx="2753">
                  <c:v>38.97</c:v>
                </c:pt>
                <c:pt idx="2754">
                  <c:v>41.92</c:v>
                </c:pt>
                <c:pt idx="2755">
                  <c:v>41.91</c:v>
                </c:pt>
                <c:pt idx="2756">
                  <c:v>40.82</c:v>
                </c:pt>
                <c:pt idx="2757">
                  <c:v>37.700000000000003</c:v>
                </c:pt>
                <c:pt idx="2758">
                  <c:v>33.4</c:v>
                </c:pt>
                <c:pt idx="2759">
                  <c:v>30.539999999999996</c:v>
                </c:pt>
                <c:pt idx="2760">
                  <c:v>30.99</c:v>
                </c:pt>
                <c:pt idx="2761">
                  <c:v>30.949999999999996</c:v>
                </c:pt>
                <c:pt idx="2762">
                  <c:v>30.540000000000003</c:v>
                </c:pt>
                <c:pt idx="2763">
                  <c:v>30.44</c:v>
                </c:pt>
                <c:pt idx="2764">
                  <c:v>33.100000000000009</c:v>
                </c:pt>
                <c:pt idx="2765">
                  <c:v>42.3</c:v>
                </c:pt>
                <c:pt idx="2766">
                  <c:v>46.95000000000001</c:v>
                </c:pt>
                <c:pt idx="2767">
                  <c:v>53.469999999999992</c:v>
                </c:pt>
                <c:pt idx="2768">
                  <c:v>46.98</c:v>
                </c:pt>
                <c:pt idx="2769">
                  <c:v>45.610000000000007</c:v>
                </c:pt>
                <c:pt idx="2770">
                  <c:v>44.75</c:v>
                </c:pt>
                <c:pt idx="2771">
                  <c:v>44.01</c:v>
                </c:pt>
                <c:pt idx="2772">
                  <c:v>42</c:v>
                </c:pt>
                <c:pt idx="2773">
                  <c:v>39.11</c:v>
                </c:pt>
                <c:pt idx="2774">
                  <c:v>38.64</c:v>
                </c:pt>
                <c:pt idx="2775">
                  <c:v>38.609999999999992</c:v>
                </c:pt>
                <c:pt idx="2776">
                  <c:v>41.92</c:v>
                </c:pt>
                <c:pt idx="2777">
                  <c:v>43.859999999999992</c:v>
                </c:pt>
                <c:pt idx="2778">
                  <c:v>44.09</c:v>
                </c:pt>
                <c:pt idx="2779">
                  <c:v>44.34</c:v>
                </c:pt>
                <c:pt idx="2780">
                  <c:v>42.93</c:v>
                </c:pt>
                <c:pt idx="2781">
                  <c:v>39.1</c:v>
                </c:pt>
                <c:pt idx="2782">
                  <c:v>32.58</c:v>
                </c:pt>
                <c:pt idx="2783">
                  <c:v>31.419999999999998</c:v>
                </c:pt>
                <c:pt idx="2784">
                  <c:v>30.49</c:v>
                </c:pt>
                <c:pt idx="2785">
                  <c:v>30.31</c:v>
                </c:pt>
                <c:pt idx="2786">
                  <c:v>30.300000000000004</c:v>
                </c:pt>
                <c:pt idx="2787">
                  <c:v>30.759999999999998</c:v>
                </c:pt>
                <c:pt idx="2788">
                  <c:v>32.47999999999999</c:v>
                </c:pt>
                <c:pt idx="2789">
                  <c:v>41.04999999999999</c:v>
                </c:pt>
                <c:pt idx="2790">
                  <c:v>44.970000000000006</c:v>
                </c:pt>
                <c:pt idx="2791">
                  <c:v>45.93</c:v>
                </c:pt>
                <c:pt idx="2792">
                  <c:v>43.669999999999995</c:v>
                </c:pt>
                <c:pt idx="2793">
                  <c:v>42.92</c:v>
                </c:pt>
                <c:pt idx="2794">
                  <c:v>40.950000000000003</c:v>
                </c:pt>
                <c:pt idx="2795">
                  <c:v>35.976361534905223</c:v>
                </c:pt>
                <c:pt idx="2796">
                  <c:v>35.09914209591475</c:v>
                </c:pt>
                <c:pt idx="2797">
                  <c:v>32.399509112846886</c:v>
                </c:pt>
                <c:pt idx="2798">
                  <c:v>33.173422184909221</c:v>
                </c:pt>
                <c:pt idx="2799">
                  <c:v>32.97145149197781</c:v>
                </c:pt>
                <c:pt idx="2800">
                  <c:v>35.107258139897176</c:v>
                </c:pt>
                <c:pt idx="2801">
                  <c:v>37.25</c:v>
                </c:pt>
                <c:pt idx="2802">
                  <c:v>38.242252091863989</c:v>
                </c:pt>
                <c:pt idx="2803">
                  <c:v>38.898921025872781</c:v>
                </c:pt>
                <c:pt idx="2804">
                  <c:v>39.630000000000003</c:v>
                </c:pt>
                <c:pt idx="2805">
                  <c:v>34.869999999999997</c:v>
                </c:pt>
                <c:pt idx="2806">
                  <c:v>32</c:v>
                </c:pt>
                <c:pt idx="2807">
                  <c:v>31.380000000000003</c:v>
                </c:pt>
                <c:pt idx="2808">
                  <c:v>31.03</c:v>
                </c:pt>
                <c:pt idx="2809">
                  <c:v>30.610000000000003</c:v>
                </c:pt>
                <c:pt idx="2810">
                  <c:v>30.680000000000003</c:v>
                </c:pt>
                <c:pt idx="2811">
                  <c:v>31.019999999999996</c:v>
                </c:pt>
                <c:pt idx="2812">
                  <c:v>32.720000000000006</c:v>
                </c:pt>
                <c:pt idx="2813">
                  <c:v>35.42</c:v>
                </c:pt>
                <c:pt idx="2814">
                  <c:v>41.54</c:v>
                </c:pt>
                <c:pt idx="2815">
                  <c:v>44.779999999999994</c:v>
                </c:pt>
                <c:pt idx="2816">
                  <c:v>43.9</c:v>
                </c:pt>
                <c:pt idx="2817">
                  <c:v>40.818022015051106</c:v>
                </c:pt>
                <c:pt idx="2818">
                  <c:v>40.9</c:v>
                </c:pt>
                <c:pt idx="2819">
                  <c:v>38.06</c:v>
                </c:pt>
                <c:pt idx="2820">
                  <c:v>34.609999999999992</c:v>
                </c:pt>
                <c:pt idx="2821">
                  <c:v>32.82</c:v>
                </c:pt>
                <c:pt idx="2822">
                  <c:v>32.26</c:v>
                </c:pt>
                <c:pt idx="2823">
                  <c:v>31.97</c:v>
                </c:pt>
                <c:pt idx="2824">
                  <c:v>32.840000000000003</c:v>
                </c:pt>
                <c:pt idx="2825">
                  <c:v>33.520000000000003</c:v>
                </c:pt>
                <c:pt idx="2826">
                  <c:v>33.26</c:v>
                </c:pt>
                <c:pt idx="2827">
                  <c:v>33.590000000000003</c:v>
                </c:pt>
                <c:pt idx="2828">
                  <c:v>33.799999999999997</c:v>
                </c:pt>
                <c:pt idx="2829">
                  <c:v>31.869999999999997</c:v>
                </c:pt>
                <c:pt idx="2830">
                  <c:v>30.34</c:v>
                </c:pt>
                <c:pt idx="2831">
                  <c:v>32.24</c:v>
                </c:pt>
                <c:pt idx="2832">
                  <c:v>28.612435031482541</c:v>
                </c:pt>
                <c:pt idx="2833">
                  <c:v>29.880000000000003</c:v>
                </c:pt>
                <c:pt idx="2834">
                  <c:v>29.86</c:v>
                </c:pt>
                <c:pt idx="2835">
                  <c:v>30.16</c:v>
                </c:pt>
                <c:pt idx="2836">
                  <c:v>30.58</c:v>
                </c:pt>
                <c:pt idx="2837">
                  <c:v>31.420000000000005</c:v>
                </c:pt>
                <c:pt idx="2838">
                  <c:v>32.64</c:v>
                </c:pt>
                <c:pt idx="2839">
                  <c:v>32.69</c:v>
                </c:pt>
                <c:pt idx="2840">
                  <c:v>32.56</c:v>
                </c:pt>
                <c:pt idx="2841">
                  <c:v>30.59</c:v>
                </c:pt>
                <c:pt idx="2842">
                  <c:v>30.129999999999995</c:v>
                </c:pt>
                <c:pt idx="2843">
                  <c:v>30.07</c:v>
                </c:pt>
                <c:pt idx="2844">
                  <c:v>29.69</c:v>
                </c:pt>
                <c:pt idx="2845">
                  <c:v>29.049999999999997</c:v>
                </c:pt>
                <c:pt idx="2846">
                  <c:v>28.77</c:v>
                </c:pt>
                <c:pt idx="2847">
                  <c:v>27.777777236168657</c:v>
                </c:pt>
                <c:pt idx="2848">
                  <c:v>29.260071736011479</c:v>
                </c:pt>
                <c:pt idx="2849">
                  <c:v>32.463422387554957</c:v>
                </c:pt>
                <c:pt idx="2850">
                  <c:v>34.44</c:v>
                </c:pt>
                <c:pt idx="2851">
                  <c:v>33.68</c:v>
                </c:pt>
                <c:pt idx="2852">
                  <c:v>33.78</c:v>
                </c:pt>
                <c:pt idx="2853">
                  <c:v>32.14</c:v>
                </c:pt>
                <c:pt idx="2854">
                  <c:v>30.470000000000002</c:v>
                </c:pt>
                <c:pt idx="2855">
                  <c:v>29.45790139687757</c:v>
                </c:pt>
                <c:pt idx="2856">
                  <c:v>26.721499561018437</c:v>
                </c:pt>
                <c:pt idx="2857">
                  <c:v>28.014295603367636</c:v>
                </c:pt>
                <c:pt idx="2858">
                  <c:v>28.350000000000005</c:v>
                </c:pt>
                <c:pt idx="2859">
                  <c:v>28.060000000000002</c:v>
                </c:pt>
                <c:pt idx="2860">
                  <c:v>28.07</c:v>
                </c:pt>
                <c:pt idx="2861">
                  <c:v>27.85</c:v>
                </c:pt>
                <c:pt idx="2862">
                  <c:v>28.600000000000005</c:v>
                </c:pt>
                <c:pt idx="2863">
                  <c:v>28.859999999999992</c:v>
                </c:pt>
                <c:pt idx="2864">
                  <c:v>29.584712156433749</c:v>
                </c:pt>
                <c:pt idx="2865">
                  <c:v>29.780712395884368</c:v>
                </c:pt>
                <c:pt idx="2866">
                  <c:v>29.333913538975843</c:v>
                </c:pt>
                <c:pt idx="2867">
                  <c:v>29.160125365378363</c:v>
                </c:pt>
                <c:pt idx="2868">
                  <c:v>28.976768836314903</c:v>
                </c:pt>
                <c:pt idx="2869">
                  <c:v>28.51846614141817</c:v>
                </c:pt>
                <c:pt idx="2870">
                  <c:v>28.39</c:v>
                </c:pt>
                <c:pt idx="2871">
                  <c:v>28.37</c:v>
                </c:pt>
                <c:pt idx="2872">
                  <c:v>28.39</c:v>
                </c:pt>
                <c:pt idx="2873">
                  <c:v>28.699999999999996</c:v>
                </c:pt>
                <c:pt idx="2874">
                  <c:v>29.04</c:v>
                </c:pt>
                <c:pt idx="2875">
                  <c:v>29.341677279252089</c:v>
                </c:pt>
                <c:pt idx="2876">
                  <c:v>29.276280150560762</c:v>
                </c:pt>
                <c:pt idx="2877">
                  <c:v>28.330000000000002</c:v>
                </c:pt>
                <c:pt idx="2878">
                  <c:v>15.029999999999998</c:v>
                </c:pt>
                <c:pt idx="2879">
                  <c:v>26.939999999999998</c:v>
                </c:pt>
                <c:pt idx="2880">
                  <c:v>20.130000000000003</c:v>
                </c:pt>
                <c:pt idx="2881">
                  <c:v>12.87</c:v>
                </c:pt>
                <c:pt idx="2882">
                  <c:v>10.389999999999999</c:v>
                </c:pt>
                <c:pt idx="2883">
                  <c:v>8.0399999999999991</c:v>
                </c:pt>
                <c:pt idx="2884">
                  <c:v>10.36</c:v>
                </c:pt>
                <c:pt idx="2885">
                  <c:v>5.5454725100129085</c:v>
                </c:pt>
                <c:pt idx="2886">
                  <c:v>0.06</c:v>
                </c:pt>
                <c:pt idx="2887">
                  <c:v>6.0000000000000005E-2</c:v>
                </c:pt>
                <c:pt idx="2888">
                  <c:v>-4.9800000000000004</c:v>
                </c:pt>
                <c:pt idx="2889">
                  <c:v>-12.099879979126806</c:v>
                </c:pt>
                <c:pt idx="2890">
                  <c:v>-12.200000000000001</c:v>
                </c:pt>
                <c:pt idx="2891">
                  <c:v>-15.040000000000001</c:v>
                </c:pt>
                <c:pt idx="2892">
                  <c:v>-15.08</c:v>
                </c:pt>
                <c:pt idx="2893">
                  <c:v>-15.100000000000001</c:v>
                </c:pt>
                <c:pt idx="2894">
                  <c:v>-12.009999999999998</c:v>
                </c:pt>
                <c:pt idx="2895">
                  <c:v>-1.2</c:v>
                </c:pt>
                <c:pt idx="2896">
                  <c:v>7.42</c:v>
                </c:pt>
                <c:pt idx="2897">
                  <c:v>14.01</c:v>
                </c:pt>
                <c:pt idx="2898">
                  <c:v>25.78</c:v>
                </c:pt>
                <c:pt idx="2899">
                  <c:v>24.9</c:v>
                </c:pt>
                <c:pt idx="2900">
                  <c:v>22.98</c:v>
                </c:pt>
                <c:pt idx="2901">
                  <c:v>22.090000000000003</c:v>
                </c:pt>
                <c:pt idx="2902">
                  <c:v>12.05</c:v>
                </c:pt>
                <c:pt idx="2903">
                  <c:v>13.47</c:v>
                </c:pt>
                <c:pt idx="2904">
                  <c:v>12.01</c:v>
                </c:pt>
                <c:pt idx="2905">
                  <c:v>10.41</c:v>
                </c:pt>
                <c:pt idx="2906">
                  <c:v>12.03</c:v>
                </c:pt>
                <c:pt idx="2907">
                  <c:v>9.69</c:v>
                </c:pt>
                <c:pt idx="2908">
                  <c:v>25.253599656745404</c:v>
                </c:pt>
                <c:pt idx="2909">
                  <c:v>33.524224882350261</c:v>
                </c:pt>
                <c:pt idx="2910">
                  <c:v>36.669999999999995</c:v>
                </c:pt>
                <c:pt idx="2911">
                  <c:v>37.299999999999997</c:v>
                </c:pt>
                <c:pt idx="2912">
                  <c:v>35.11999999999999</c:v>
                </c:pt>
                <c:pt idx="2913">
                  <c:v>34.01</c:v>
                </c:pt>
                <c:pt idx="2914">
                  <c:v>32.67</c:v>
                </c:pt>
                <c:pt idx="2915">
                  <c:v>31.234828088393591</c:v>
                </c:pt>
                <c:pt idx="2916">
                  <c:v>30.78</c:v>
                </c:pt>
                <c:pt idx="2917">
                  <c:v>30.400000000000002</c:v>
                </c:pt>
                <c:pt idx="2918">
                  <c:v>30.41</c:v>
                </c:pt>
                <c:pt idx="2919">
                  <c:v>30.430000000000003</c:v>
                </c:pt>
                <c:pt idx="2920">
                  <c:v>30.990000000000002</c:v>
                </c:pt>
                <c:pt idx="2921">
                  <c:v>31.259999999999998</c:v>
                </c:pt>
                <c:pt idx="2922">
                  <c:v>31.77</c:v>
                </c:pt>
                <c:pt idx="2923">
                  <c:v>31.550000000000004</c:v>
                </c:pt>
                <c:pt idx="2924">
                  <c:v>31.74</c:v>
                </c:pt>
                <c:pt idx="2925">
                  <c:v>30.57</c:v>
                </c:pt>
                <c:pt idx="2926">
                  <c:v>28.46</c:v>
                </c:pt>
                <c:pt idx="2927">
                  <c:v>28.59</c:v>
                </c:pt>
                <c:pt idx="2928">
                  <c:v>27.43</c:v>
                </c:pt>
                <c:pt idx="2929">
                  <c:v>27.479999999999997</c:v>
                </c:pt>
                <c:pt idx="2930">
                  <c:v>27.809999999999995</c:v>
                </c:pt>
                <c:pt idx="2931">
                  <c:v>28.920000000000005</c:v>
                </c:pt>
                <c:pt idx="2932">
                  <c:v>30.059999999999995</c:v>
                </c:pt>
                <c:pt idx="2933">
                  <c:v>31.870000000000005</c:v>
                </c:pt>
                <c:pt idx="2934">
                  <c:v>33.700000000000003</c:v>
                </c:pt>
                <c:pt idx="2935">
                  <c:v>35.069999999999993</c:v>
                </c:pt>
                <c:pt idx="2936">
                  <c:v>34.270000000000003</c:v>
                </c:pt>
                <c:pt idx="2937">
                  <c:v>33.729999999999997</c:v>
                </c:pt>
                <c:pt idx="2938">
                  <c:v>32.44</c:v>
                </c:pt>
                <c:pt idx="2939">
                  <c:v>31.960000000000004</c:v>
                </c:pt>
                <c:pt idx="2940">
                  <c:v>31.81</c:v>
                </c:pt>
                <c:pt idx="2941">
                  <c:v>31.07</c:v>
                </c:pt>
                <c:pt idx="2942">
                  <c:v>30.859999999999996</c:v>
                </c:pt>
                <c:pt idx="2943">
                  <c:v>30.77</c:v>
                </c:pt>
                <c:pt idx="2944">
                  <c:v>31.249999999999996</c:v>
                </c:pt>
                <c:pt idx="2945">
                  <c:v>31.470000000000002</c:v>
                </c:pt>
                <c:pt idx="2946">
                  <c:v>31.509999999999998</c:v>
                </c:pt>
                <c:pt idx="2947">
                  <c:v>31.569999999999997</c:v>
                </c:pt>
                <c:pt idx="2948">
                  <c:v>31.56</c:v>
                </c:pt>
                <c:pt idx="2949">
                  <c:v>30.519999999999996</c:v>
                </c:pt>
                <c:pt idx="2950">
                  <c:v>28.6</c:v>
                </c:pt>
                <c:pt idx="2951">
                  <c:v>26.910000000000004</c:v>
                </c:pt>
                <c:pt idx="2952">
                  <c:v>26.260000000000005</c:v>
                </c:pt>
                <c:pt idx="2953">
                  <c:v>24.569999999999997</c:v>
                </c:pt>
                <c:pt idx="2954">
                  <c:v>24.820000000000004</c:v>
                </c:pt>
                <c:pt idx="2955">
                  <c:v>25.800000000000004</c:v>
                </c:pt>
                <c:pt idx="2956">
                  <c:v>27.570000000000004</c:v>
                </c:pt>
                <c:pt idx="2957">
                  <c:v>30.42</c:v>
                </c:pt>
                <c:pt idx="2958">
                  <c:v>32.28</c:v>
                </c:pt>
                <c:pt idx="2959">
                  <c:v>33.04</c:v>
                </c:pt>
                <c:pt idx="2960">
                  <c:v>32.020000000000003</c:v>
                </c:pt>
                <c:pt idx="2961">
                  <c:v>31.6</c:v>
                </c:pt>
                <c:pt idx="2962">
                  <c:v>31.18</c:v>
                </c:pt>
                <c:pt idx="2963">
                  <c:v>30.85</c:v>
                </c:pt>
                <c:pt idx="2964">
                  <c:v>30.560000000000002</c:v>
                </c:pt>
                <c:pt idx="2965">
                  <c:v>30.11</c:v>
                </c:pt>
                <c:pt idx="2966">
                  <c:v>29.9</c:v>
                </c:pt>
                <c:pt idx="2967">
                  <c:v>29.79</c:v>
                </c:pt>
                <c:pt idx="2968">
                  <c:v>30.12</c:v>
                </c:pt>
                <c:pt idx="2969">
                  <c:v>30.41</c:v>
                </c:pt>
                <c:pt idx="2970">
                  <c:v>30.469999999999995</c:v>
                </c:pt>
                <c:pt idx="2971">
                  <c:v>30.259999999999998</c:v>
                </c:pt>
                <c:pt idx="2972">
                  <c:v>30.299999999999997</c:v>
                </c:pt>
                <c:pt idx="2973">
                  <c:v>29.719999999999995</c:v>
                </c:pt>
                <c:pt idx="2974">
                  <c:v>26.59</c:v>
                </c:pt>
                <c:pt idx="2975">
                  <c:v>26.25</c:v>
                </c:pt>
                <c:pt idx="2976">
                  <c:v>24.76</c:v>
                </c:pt>
                <c:pt idx="2977">
                  <c:v>24.620000000000005</c:v>
                </c:pt>
                <c:pt idx="2978">
                  <c:v>24.89</c:v>
                </c:pt>
                <c:pt idx="2979">
                  <c:v>25.880000000000003</c:v>
                </c:pt>
                <c:pt idx="2980">
                  <c:v>29.729999999999997</c:v>
                </c:pt>
                <c:pt idx="2981">
                  <c:v>30.590000000000003</c:v>
                </c:pt>
                <c:pt idx="2982">
                  <c:v>32.800000000000004</c:v>
                </c:pt>
                <c:pt idx="2983">
                  <c:v>33.449999999999996</c:v>
                </c:pt>
                <c:pt idx="2984">
                  <c:v>32.42</c:v>
                </c:pt>
                <c:pt idx="2985">
                  <c:v>31.96</c:v>
                </c:pt>
                <c:pt idx="2986">
                  <c:v>31.35</c:v>
                </c:pt>
                <c:pt idx="2987">
                  <c:v>30.980000000000004</c:v>
                </c:pt>
                <c:pt idx="2988">
                  <c:v>31.000000000000004</c:v>
                </c:pt>
                <c:pt idx="2989">
                  <c:v>30.709999999999997</c:v>
                </c:pt>
                <c:pt idx="2990">
                  <c:v>30.39</c:v>
                </c:pt>
                <c:pt idx="2991">
                  <c:v>30.46</c:v>
                </c:pt>
                <c:pt idx="2992">
                  <c:v>31.08</c:v>
                </c:pt>
                <c:pt idx="2993">
                  <c:v>36.72</c:v>
                </c:pt>
                <c:pt idx="2994">
                  <c:v>41.43</c:v>
                </c:pt>
                <c:pt idx="2995">
                  <c:v>41.16</c:v>
                </c:pt>
                <c:pt idx="2996">
                  <c:v>38.79</c:v>
                </c:pt>
                <c:pt idx="2997">
                  <c:v>36.069999999999993</c:v>
                </c:pt>
                <c:pt idx="2998">
                  <c:v>33.369999999999997</c:v>
                </c:pt>
                <c:pt idx="2999">
                  <c:v>33.25</c:v>
                </c:pt>
                <c:pt idx="3000">
                  <c:v>32.47</c:v>
                </c:pt>
                <c:pt idx="3001">
                  <c:v>31.040000000000003</c:v>
                </c:pt>
                <c:pt idx="3002">
                  <c:v>30.710000000000004</c:v>
                </c:pt>
                <c:pt idx="3003">
                  <c:v>30.569999999999997</c:v>
                </c:pt>
                <c:pt idx="3004">
                  <c:v>30.860000000000003</c:v>
                </c:pt>
                <c:pt idx="3005">
                  <c:v>30.920000000000005</c:v>
                </c:pt>
                <c:pt idx="3006">
                  <c:v>31.140000000000008</c:v>
                </c:pt>
                <c:pt idx="3007">
                  <c:v>33.92</c:v>
                </c:pt>
                <c:pt idx="3008">
                  <c:v>33.059999999999995</c:v>
                </c:pt>
                <c:pt idx="3009">
                  <c:v>31.529999999999998</c:v>
                </c:pt>
                <c:pt idx="3010">
                  <c:v>30.64</c:v>
                </c:pt>
                <c:pt idx="3011">
                  <c:v>30.790000000000003</c:v>
                </c:pt>
                <c:pt idx="3012">
                  <c:v>30.1</c:v>
                </c:pt>
                <c:pt idx="3013">
                  <c:v>29.599999999999998</c:v>
                </c:pt>
                <c:pt idx="3014">
                  <c:v>28.93</c:v>
                </c:pt>
                <c:pt idx="3015">
                  <c:v>28.307399103139016</c:v>
                </c:pt>
                <c:pt idx="3016">
                  <c:v>31.019999999999996</c:v>
                </c:pt>
                <c:pt idx="3017">
                  <c:v>33.82</c:v>
                </c:pt>
                <c:pt idx="3018">
                  <c:v>37.94</c:v>
                </c:pt>
                <c:pt idx="3019">
                  <c:v>39.9</c:v>
                </c:pt>
                <c:pt idx="3020">
                  <c:v>39.5</c:v>
                </c:pt>
                <c:pt idx="3021">
                  <c:v>38.92</c:v>
                </c:pt>
                <c:pt idx="3022">
                  <c:v>33.93</c:v>
                </c:pt>
                <c:pt idx="3023">
                  <c:v>28.310000000000002</c:v>
                </c:pt>
                <c:pt idx="3024">
                  <c:v>26.73</c:v>
                </c:pt>
                <c:pt idx="3025">
                  <c:v>26.48</c:v>
                </c:pt>
                <c:pt idx="3026">
                  <c:v>26.17</c:v>
                </c:pt>
                <c:pt idx="3027">
                  <c:v>26.83</c:v>
                </c:pt>
                <c:pt idx="3028">
                  <c:v>26.25</c:v>
                </c:pt>
                <c:pt idx="3029">
                  <c:v>25.430000000000003</c:v>
                </c:pt>
                <c:pt idx="3030">
                  <c:v>26.66</c:v>
                </c:pt>
                <c:pt idx="3031">
                  <c:v>28.66</c:v>
                </c:pt>
                <c:pt idx="3032">
                  <c:v>30.059999999999995</c:v>
                </c:pt>
                <c:pt idx="3033">
                  <c:v>30.330000000000002</c:v>
                </c:pt>
                <c:pt idx="3034">
                  <c:v>30.18</c:v>
                </c:pt>
                <c:pt idx="3035">
                  <c:v>29.5</c:v>
                </c:pt>
                <c:pt idx="3036">
                  <c:v>28.53</c:v>
                </c:pt>
                <c:pt idx="3037">
                  <c:v>27.31</c:v>
                </c:pt>
                <c:pt idx="3038">
                  <c:v>26.88</c:v>
                </c:pt>
                <c:pt idx="3039">
                  <c:v>26.68</c:v>
                </c:pt>
                <c:pt idx="3040">
                  <c:v>27.408594697626061</c:v>
                </c:pt>
                <c:pt idx="3041">
                  <c:v>29.799999999999997</c:v>
                </c:pt>
                <c:pt idx="3042">
                  <c:v>31.180000000000003</c:v>
                </c:pt>
                <c:pt idx="3043">
                  <c:v>31.100000000000005</c:v>
                </c:pt>
                <c:pt idx="3044">
                  <c:v>31.240000000000002</c:v>
                </c:pt>
                <c:pt idx="3045">
                  <c:v>31.259999999999998</c:v>
                </c:pt>
                <c:pt idx="3046">
                  <c:v>27</c:v>
                </c:pt>
                <c:pt idx="3047">
                  <c:v>27.202652296157449</c:v>
                </c:pt>
                <c:pt idx="3048">
                  <c:v>26.1</c:v>
                </c:pt>
                <c:pt idx="3049">
                  <c:v>24.96</c:v>
                </c:pt>
                <c:pt idx="3050">
                  <c:v>24.140000000000004</c:v>
                </c:pt>
                <c:pt idx="3051">
                  <c:v>24.54</c:v>
                </c:pt>
                <c:pt idx="3052">
                  <c:v>27.239999999999995</c:v>
                </c:pt>
                <c:pt idx="3053">
                  <c:v>30.01</c:v>
                </c:pt>
                <c:pt idx="3054">
                  <c:v>30.8</c:v>
                </c:pt>
                <c:pt idx="3055">
                  <c:v>31.500000000000004</c:v>
                </c:pt>
                <c:pt idx="3056">
                  <c:v>31.75</c:v>
                </c:pt>
                <c:pt idx="3057">
                  <c:v>31.710000000000004</c:v>
                </c:pt>
                <c:pt idx="3058">
                  <c:v>31.400000000000002</c:v>
                </c:pt>
                <c:pt idx="3059">
                  <c:v>31.179999999999993</c:v>
                </c:pt>
                <c:pt idx="3060">
                  <c:v>31.05</c:v>
                </c:pt>
                <c:pt idx="3061">
                  <c:v>30.899999999999995</c:v>
                </c:pt>
                <c:pt idx="3062">
                  <c:v>30.560000000000002</c:v>
                </c:pt>
                <c:pt idx="3063">
                  <c:v>30.299999999999997</c:v>
                </c:pt>
                <c:pt idx="3064">
                  <c:v>31.12</c:v>
                </c:pt>
                <c:pt idx="3065">
                  <c:v>31.409999999999997</c:v>
                </c:pt>
                <c:pt idx="3066">
                  <c:v>32.010000000000005</c:v>
                </c:pt>
                <c:pt idx="3067">
                  <c:v>32.829999999999991</c:v>
                </c:pt>
                <c:pt idx="3068">
                  <c:v>33.880000000000003</c:v>
                </c:pt>
                <c:pt idx="3069">
                  <c:v>32.990000000000009</c:v>
                </c:pt>
                <c:pt idx="3070">
                  <c:v>31.810000000000002</c:v>
                </c:pt>
                <c:pt idx="3071">
                  <c:v>30.5</c:v>
                </c:pt>
                <c:pt idx="3072">
                  <c:v>29.829999999999995</c:v>
                </c:pt>
                <c:pt idx="3073">
                  <c:v>29.239999999999995</c:v>
                </c:pt>
                <c:pt idx="3074">
                  <c:v>28.94</c:v>
                </c:pt>
                <c:pt idx="3075">
                  <c:v>29.9</c:v>
                </c:pt>
                <c:pt idx="3076">
                  <c:v>32.07</c:v>
                </c:pt>
                <c:pt idx="3077">
                  <c:v>39.93</c:v>
                </c:pt>
                <c:pt idx="3078">
                  <c:v>45.3</c:v>
                </c:pt>
                <c:pt idx="3079">
                  <c:v>46.470000000000006</c:v>
                </c:pt>
                <c:pt idx="3080">
                  <c:v>45.04</c:v>
                </c:pt>
                <c:pt idx="3081">
                  <c:v>42.1</c:v>
                </c:pt>
                <c:pt idx="3082">
                  <c:v>42.11</c:v>
                </c:pt>
                <c:pt idx="3083">
                  <c:v>39.649999999999991</c:v>
                </c:pt>
                <c:pt idx="3084">
                  <c:v>38</c:v>
                </c:pt>
                <c:pt idx="3085">
                  <c:v>35.57</c:v>
                </c:pt>
                <c:pt idx="3086">
                  <c:v>35.340000000000011</c:v>
                </c:pt>
                <c:pt idx="3087">
                  <c:v>33.340000000000003</c:v>
                </c:pt>
                <c:pt idx="3088">
                  <c:v>34.54999999999999</c:v>
                </c:pt>
                <c:pt idx="3089">
                  <c:v>34.11999999999999</c:v>
                </c:pt>
                <c:pt idx="3090">
                  <c:v>33.86</c:v>
                </c:pt>
                <c:pt idx="3091">
                  <c:v>34.899999999999991</c:v>
                </c:pt>
                <c:pt idx="3092">
                  <c:v>35.35</c:v>
                </c:pt>
                <c:pt idx="3093">
                  <c:v>34.15</c:v>
                </c:pt>
                <c:pt idx="3094">
                  <c:v>31.770000000000003</c:v>
                </c:pt>
                <c:pt idx="3095">
                  <c:v>31.290000000000003</c:v>
                </c:pt>
                <c:pt idx="3096">
                  <c:v>30.62</c:v>
                </c:pt>
                <c:pt idx="3097">
                  <c:v>30.270000000000007</c:v>
                </c:pt>
                <c:pt idx="3098">
                  <c:v>30.31</c:v>
                </c:pt>
                <c:pt idx="3099">
                  <c:v>30.77</c:v>
                </c:pt>
                <c:pt idx="3100">
                  <c:v>32.39</c:v>
                </c:pt>
                <c:pt idx="3101">
                  <c:v>37.409999999999997</c:v>
                </c:pt>
                <c:pt idx="3102">
                  <c:v>43.39</c:v>
                </c:pt>
                <c:pt idx="3103">
                  <c:v>47.89</c:v>
                </c:pt>
                <c:pt idx="3104">
                  <c:v>42.929999999999993</c:v>
                </c:pt>
                <c:pt idx="3105">
                  <c:v>39.159999999999997</c:v>
                </c:pt>
                <c:pt idx="3106">
                  <c:v>39.22</c:v>
                </c:pt>
                <c:pt idx="3107">
                  <c:v>36.13000000000001</c:v>
                </c:pt>
                <c:pt idx="3108">
                  <c:v>36.119999999999997</c:v>
                </c:pt>
                <c:pt idx="3109">
                  <c:v>34.52000000000001</c:v>
                </c:pt>
                <c:pt idx="3110">
                  <c:v>34.11999999999999</c:v>
                </c:pt>
                <c:pt idx="3111">
                  <c:v>35.01</c:v>
                </c:pt>
                <c:pt idx="3112">
                  <c:v>41.079999999999991</c:v>
                </c:pt>
                <c:pt idx="3113">
                  <c:v>44.01</c:v>
                </c:pt>
                <c:pt idx="3114">
                  <c:v>48.04</c:v>
                </c:pt>
                <c:pt idx="3115">
                  <c:v>47.35</c:v>
                </c:pt>
                <c:pt idx="3116">
                  <c:v>48.04</c:v>
                </c:pt>
                <c:pt idx="3117">
                  <c:v>42.64</c:v>
                </c:pt>
                <c:pt idx="3118">
                  <c:v>32.6</c:v>
                </c:pt>
                <c:pt idx="3119">
                  <c:v>31.159999999999997</c:v>
                </c:pt>
                <c:pt idx="3120">
                  <c:v>30.409999999999997</c:v>
                </c:pt>
                <c:pt idx="3121">
                  <c:v>29.499999999999996</c:v>
                </c:pt>
                <c:pt idx="3122">
                  <c:v>29.26</c:v>
                </c:pt>
                <c:pt idx="3123">
                  <c:v>29.590000000000003</c:v>
                </c:pt>
                <c:pt idx="3124">
                  <c:v>30.889999999999997</c:v>
                </c:pt>
                <c:pt idx="3125">
                  <c:v>34.910000000000004</c:v>
                </c:pt>
                <c:pt idx="3126">
                  <c:v>43.1</c:v>
                </c:pt>
                <c:pt idx="3127">
                  <c:v>44.490000000000009</c:v>
                </c:pt>
                <c:pt idx="3128">
                  <c:v>41.93</c:v>
                </c:pt>
                <c:pt idx="3129">
                  <c:v>38.54</c:v>
                </c:pt>
                <c:pt idx="3130">
                  <c:v>37.47</c:v>
                </c:pt>
                <c:pt idx="3131">
                  <c:v>36.03</c:v>
                </c:pt>
                <c:pt idx="3132">
                  <c:v>35.230000000000004</c:v>
                </c:pt>
                <c:pt idx="3133">
                  <c:v>33.147509829619921</c:v>
                </c:pt>
                <c:pt idx="3134">
                  <c:v>33.82</c:v>
                </c:pt>
                <c:pt idx="3135">
                  <c:v>33.19</c:v>
                </c:pt>
                <c:pt idx="3136">
                  <c:v>34.799999999999997</c:v>
                </c:pt>
                <c:pt idx="3137">
                  <c:v>35.75</c:v>
                </c:pt>
                <c:pt idx="3138">
                  <c:v>34.94</c:v>
                </c:pt>
                <c:pt idx="3139">
                  <c:v>33.04943400211193</c:v>
                </c:pt>
                <c:pt idx="3140">
                  <c:v>31.557410429230224</c:v>
                </c:pt>
                <c:pt idx="3141">
                  <c:v>30.52</c:v>
                </c:pt>
                <c:pt idx="3142">
                  <c:v>28.76</c:v>
                </c:pt>
                <c:pt idx="3143">
                  <c:v>29.88</c:v>
                </c:pt>
                <c:pt idx="3144">
                  <c:v>27.99</c:v>
                </c:pt>
                <c:pt idx="3145">
                  <c:v>27.46</c:v>
                </c:pt>
                <c:pt idx="3146">
                  <c:v>27.269999999999996</c:v>
                </c:pt>
                <c:pt idx="3147">
                  <c:v>27.08</c:v>
                </c:pt>
                <c:pt idx="3148">
                  <c:v>29.211532190983203</c:v>
                </c:pt>
                <c:pt idx="3149">
                  <c:v>33.100000000000009</c:v>
                </c:pt>
                <c:pt idx="3150">
                  <c:v>33.314357155524029</c:v>
                </c:pt>
                <c:pt idx="3151">
                  <c:v>33.921825084094181</c:v>
                </c:pt>
                <c:pt idx="3152">
                  <c:v>32.528047560186003</c:v>
                </c:pt>
                <c:pt idx="3153">
                  <c:v>31.959292025500506</c:v>
                </c:pt>
                <c:pt idx="3154">
                  <c:v>31.822997544338342</c:v>
                </c:pt>
                <c:pt idx="3155">
                  <c:v>31.692331622665463</c:v>
                </c:pt>
                <c:pt idx="3156">
                  <c:v>30.825540941875268</c:v>
                </c:pt>
                <c:pt idx="3157">
                  <c:v>30.662231626078409</c:v>
                </c:pt>
                <c:pt idx="3158">
                  <c:v>30.45</c:v>
                </c:pt>
                <c:pt idx="3159">
                  <c:v>30.51</c:v>
                </c:pt>
                <c:pt idx="3160">
                  <c:v>31.21</c:v>
                </c:pt>
                <c:pt idx="3161">
                  <c:v>31.43</c:v>
                </c:pt>
                <c:pt idx="3162">
                  <c:v>31.45</c:v>
                </c:pt>
                <c:pt idx="3163">
                  <c:v>31.3</c:v>
                </c:pt>
                <c:pt idx="3164">
                  <c:v>31.310000000000002</c:v>
                </c:pt>
                <c:pt idx="3165">
                  <c:v>30.799999999999997</c:v>
                </c:pt>
                <c:pt idx="3166">
                  <c:v>30.2</c:v>
                </c:pt>
                <c:pt idx="3167">
                  <c:v>29.42</c:v>
                </c:pt>
                <c:pt idx="3168">
                  <c:v>28.95</c:v>
                </c:pt>
                <c:pt idx="3169">
                  <c:v>28.72</c:v>
                </c:pt>
                <c:pt idx="3170">
                  <c:v>28.52</c:v>
                </c:pt>
                <c:pt idx="3171">
                  <c:v>28.12</c:v>
                </c:pt>
                <c:pt idx="3172">
                  <c:v>28.73</c:v>
                </c:pt>
                <c:pt idx="3173">
                  <c:v>29.05</c:v>
                </c:pt>
                <c:pt idx="3174">
                  <c:v>30.17</c:v>
                </c:pt>
                <c:pt idx="3175">
                  <c:v>32.21</c:v>
                </c:pt>
                <c:pt idx="3176">
                  <c:v>33.28</c:v>
                </c:pt>
                <c:pt idx="3177">
                  <c:v>31.969999999999995</c:v>
                </c:pt>
                <c:pt idx="3178">
                  <c:v>31.04</c:v>
                </c:pt>
                <c:pt idx="3179">
                  <c:v>30.28</c:v>
                </c:pt>
                <c:pt idx="3180">
                  <c:v>28.856202790064646</c:v>
                </c:pt>
                <c:pt idx="3181">
                  <c:v>28.440000000000005</c:v>
                </c:pt>
                <c:pt idx="3182">
                  <c:v>27.806242587601076</c:v>
                </c:pt>
                <c:pt idx="3183">
                  <c:v>27.973371841155235</c:v>
                </c:pt>
                <c:pt idx="3184">
                  <c:v>29.9</c:v>
                </c:pt>
                <c:pt idx="3185">
                  <c:v>34.789999999999992</c:v>
                </c:pt>
                <c:pt idx="3186">
                  <c:v>32.42</c:v>
                </c:pt>
                <c:pt idx="3187">
                  <c:v>31.850000000000005</c:v>
                </c:pt>
                <c:pt idx="3188">
                  <c:v>31.66</c:v>
                </c:pt>
                <c:pt idx="3189">
                  <c:v>31.4</c:v>
                </c:pt>
                <c:pt idx="3190">
                  <c:v>30.34</c:v>
                </c:pt>
                <c:pt idx="3191">
                  <c:v>27.66</c:v>
                </c:pt>
                <c:pt idx="3192">
                  <c:v>26.54</c:v>
                </c:pt>
                <c:pt idx="3193">
                  <c:v>25.65</c:v>
                </c:pt>
                <c:pt idx="3194">
                  <c:v>25.630000000000003</c:v>
                </c:pt>
                <c:pt idx="3195">
                  <c:v>25.82</c:v>
                </c:pt>
                <c:pt idx="3196">
                  <c:v>25.83</c:v>
                </c:pt>
                <c:pt idx="3197">
                  <c:v>26.410000000000004</c:v>
                </c:pt>
                <c:pt idx="3198">
                  <c:v>27.110000000000003</c:v>
                </c:pt>
                <c:pt idx="3199">
                  <c:v>27.99</c:v>
                </c:pt>
                <c:pt idx="3200">
                  <c:v>29.110000000000003</c:v>
                </c:pt>
                <c:pt idx="3201">
                  <c:v>29.41</c:v>
                </c:pt>
                <c:pt idx="3202">
                  <c:v>29.250000000000004</c:v>
                </c:pt>
                <c:pt idx="3203">
                  <c:v>29.1</c:v>
                </c:pt>
                <c:pt idx="3204">
                  <c:v>28.42</c:v>
                </c:pt>
                <c:pt idx="3205">
                  <c:v>27.97</c:v>
                </c:pt>
                <c:pt idx="3206">
                  <c:v>28.060000000000002</c:v>
                </c:pt>
                <c:pt idx="3207">
                  <c:v>25.363379501385044</c:v>
                </c:pt>
                <c:pt idx="3208">
                  <c:v>27.932688518378175</c:v>
                </c:pt>
                <c:pt idx="3209">
                  <c:v>31.872000000000003</c:v>
                </c:pt>
                <c:pt idx="3210">
                  <c:v>35.96</c:v>
                </c:pt>
                <c:pt idx="3211">
                  <c:v>32.270000000000003</c:v>
                </c:pt>
                <c:pt idx="3212">
                  <c:v>31.94</c:v>
                </c:pt>
                <c:pt idx="3213">
                  <c:v>31.45</c:v>
                </c:pt>
                <c:pt idx="3214">
                  <c:v>30.369999999999997</c:v>
                </c:pt>
                <c:pt idx="3215">
                  <c:v>29.7</c:v>
                </c:pt>
                <c:pt idx="3216">
                  <c:v>27.430000000000003</c:v>
                </c:pt>
                <c:pt idx="3217">
                  <c:v>27.179999999999993</c:v>
                </c:pt>
                <c:pt idx="3218">
                  <c:v>26.7</c:v>
                </c:pt>
                <c:pt idx="3219">
                  <c:v>27.159999999999997</c:v>
                </c:pt>
                <c:pt idx="3220">
                  <c:v>29.769999999999996</c:v>
                </c:pt>
                <c:pt idx="3221">
                  <c:v>32.99</c:v>
                </c:pt>
                <c:pt idx="3222">
                  <c:v>35.459999999999994</c:v>
                </c:pt>
                <c:pt idx="3223">
                  <c:v>37.590573510773126</c:v>
                </c:pt>
                <c:pt idx="3224">
                  <c:v>37.008221797323145</c:v>
                </c:pt>
                <c:pt idx="3225">
                  <c:v>36.178734632683657</c:v>
                </c:pt>
                <c:pt idx="3226">
                  <c:v>35.328069837778386</c:v>
                </c:pt>
                <c:pt idx="3227">
                  <c:v>33.3841312184571</c:v>
                </c:pt>
                <c:pt idx="3228">
                  <c:v>33.23293068202937</c:v>
                </c:pt>
                <c:pt idx="3229">
                  <c:v>32.452302240950004</c:v>
                </c:pt>
                <c:pt idx="3230">
                  <c:v>31.958975246667819</c:v>
                </c:pt>
                <c:pt idx="3231">
                  <c:v>32.124737956590785</c:v>
                </c:pt>
                <c:pt idx="3232">
                  <c:v>36.840000000000011</c:v>
                </c:pt>
                <c:pt idx="3233">
                  <c:v>40.140000000000008</c:v>
                </c:pt>
                <c:pt idx="3234">
                  <c:v>38.910000000000004</c:v>
                </c:pt>
                <c:pt idx="3235">
                  <c:v>33.020000000000003</c:v>
                </c:pt>
                <c:pt idx="3236">
                  <c:v>32.94</c:v>
                </c:pt>
                <c:pt idx="3237">
                  <c:v>31.790000000000006</c:v>
                </c:pt>
                <c:pt idx="3238">
                  <c:v>30.249999999999996</c:v>
                </c:pt>
                <c:pt idx="3239">
                  <c:v>29.030000000000005</c:v>
                </c:pt>
                <c:pt idx="3240">
                  <c:v>28.009999999999998</c:v>
                </c:pt>
                <c:pt idx="3241">
                  <c:v>27.35</c:v>
                </c:pt>
                <c:pt idx="3242">
                  <c:v>27.179999999999996</c:v>
                </c:pt>
                <c:pt idx="3243">
                  <c:v>27.03</c:v>
                </c:pt>
                <c:pt idx="3244">
                  <c:v>27.939468317552805</c:v>
                </c:pt>
                <c:pt idx="3245">
                  <c:v>31.039999999999996</c:v>
                </c:pt>
                <c:pt idx="3246">
                  <c:v>34.016587881392354</c:v>
                </c:pt>
                <c:pt idx="3247">
                  <c:v>34.129571965680128</c:v>
                </c:pt>
                <c:pt idx="3248">
                  <c:v>33.220918847591818</c:v>
                </c:pt>
                <c:pt idx="3249">
                  <c:v>32.50134705017846</c:v>
                </c:pt>
                <c:pt idx="3250">
                  <c:v>31.781537246425007</c:v>
                </c:pt>
                <c:pt idx="3251">
                  <c:v>31.28033422630438</c:v>
                </c:pt>
                <c:pt idx="3252">
                  <c:v>30.93195116467308</c:v>
                </c:pt>
                <c:pt idx="3253">
                  <c:v>30.830000000000002</c:v>
                </c:pt>
                <c:pt idx="3254">
                  <c:v>30.629999999999995</c:v>
                </c:pt>
                <c:pt idx="3255">
                  <c:v>30.39</c:v>
                </c:pt>
                <c:pt idx="3256">
                  <c:v>30.8</c:v>
                </c:pt>
                <c:pt idx="3257">
                  <c:v>30.900000000000002</c:v>
                </c:pt>
                <c:pt idx="3258">
                  <c:v>30.78</c:v>
                </c:pt>
                <c:pt idx="3259">
                  <c:v>30.199999999999996</c:v>
                </c:pt>
                <c:pt idx="3260">
                  <c:v>29.649999999999995</c:v>
                </c:pt>
                <c:pt idx="3261">
                  <c:v>29.039999999999996</c:v>
                </c:pt>
                <c:pt idx="3262">
                  <c:v>27.029999999999998</c:v>
                </c:pt>
                <c:pt idx="3263">
                  <c:v>25.01</c:v>
                </c:pt>
                <c:pt idx="3264">
                  <c:v>24.430000000000003</c:v>
                </c:pt>
                <c:pt idx="3265">
                  <c:v>24.26</c:v>
                </c:pt>
                <c:pt idx="3266">
                  <c:v>24.330000000000002</c:v>
                </c:pt>
                <c:pt idx="3267">
                  <c:v>24.799999999999997</c:v>
                </c:pt>
                <c:pt idx="3268">
                  <c:v>25.239999999999995</c:v>
                </c:pt>
                <c:pt idx="3269">
                  <c:v>27.939999999999998</c:v>
                </c:pt>
                <c:pt idx="3270">
                  <c:v>33.51</c:v>
                </c:pt>
                <c:pt idx="3271">
                  <c:v>36</c:v>
                </c:pt>
                <c:pt idx="3272">
                  <c:v>34.619999999999997</c:v>
                </c:pt>
                <c:pt idx="3273">
                  <c:v>33.53</c:v>
                </c:pt>
                <c:pt idx="3274">
                  <c:v>32.939999999999991</c:v>
                </c:pt>
                <c:pt idx="3275">
                  <c:v>32.409999999999997</c:v>
                </c:pt>
                <c:pt idx="3276">
                  <c:v>32.74</c:v>
                </c:pt>
                <c:pt idx="3277">
                  <c:v>29.850000000000005</c:v>
                </c:pt>
                <c:pt idx="3278">
                  <c:v>28.91</c:v>
                </c:pt>
                <c:pt idx="3279">
                  <c:v>29.48</c:v>
                </c:pt>
                <c:pt idx="3280">
                  <c:v>33.94</c:v>
                </c:pt>
                <c:pt idx="3281">
                  <c:v>37.25</c:v>
                </c:pt>
                <c:pt idx="3282">
                  <c:v>36.18</c:v>
                </c:pt>
                <c:pt idx="3283">
                  <c:v>32.47</c:v>
                </c:pt>
                <c:pt idx="3284">
                  <c:v>31.790000000000003</c:v>
                </c:pt>
                <c:pt idx="3285">
                  <c:v>28.04</c:v>
                </c:pt>
                <c:pt idx="3286">
                  <c:v>26.680000000000003</c:v>
                </c:pt>
                <c:pt idx="3287">
                  <c:v>6.6715885695462402</c:v>
                </c:pt>
                <c:pt idx="3288">
                  <c:v>19.604180918091807</c:v>
                </c:pt>
                <c:pt idx="3289">
                  <c:v>22.430000000000003</c:v>
                </c:pt>
                <c:pt idx="3290">
                  <c:v>20.679999999999996</c:v>
                </c:pt>
                <c:pt idx="3291">
                  <c:v>22.495716343211033</c:v>
                </c:pt>
                <c:pt idx="3292">
                  <c:v>24.158771302412145</c:v>
                </c:pt>
                <c:pt idx="3293">
                  <c:v>25.230110529806204</c:v>
                </c:pt>
                <c:pt idx="3294">
                  <c:v>31.03</c:v>
                </c:pt>
                <c:pt idx="3295">
                  <c:v>29.569639069308558</c:v>
                </c:pt>
                <c:pt idx="3296">
                  <c:v>29.128567057623663</c:v>
                </c:pt>
                <c:pt idx="3297">
                  <c:v>29.048218093481488</c:v>
                </c:pt>
                <c:pt idx="3298">
                  <c:v>30.649999999999995</c:v>
                </c:pt>
                <c:pt idx="3299">
                  <c:v>29.700000000000003</c:v>
                </c:pt>
                <c:pt idx="3300">
                  <c:v>29.27</c:v>
                </c:pt>
                <c:pt idx="3301">
                  <c:v>29.12</c:v>
                </c:pt>
                <c:pt idx="3302">
                  <c:v>28.969999999999995</c:v>
                </c:pt>
                <c:pt idx="3303">
                  <c:v>29.03</c:v>
                </c:pt>
                <c:pt idx="3304">
                  <c:v>31.599999999999998</c:v>
                </c:pt>
                <c:pt idx="3305">
                  <c:v>32.049999999999997</c:v>
                </c:pt>
                <c:pt idx="3306">
                  <c:v>31.960000000000004</c:v>
                </c:pt>
                <c:pt idx="3307">
                  <c:v>31.91</c:v>
                </c:pt>
                <c:pt idx="3308">
                  <c:v>31.96</c:v>
                </c:pt>
                <c:pt idx="3309">
                  <c:v>31.519999999999992</c:v>
                </c:pt>
                <c:pt idx="3310">
                  <c:v>26.81</c:v>
                </c:pt>
                <c:pt idx="3311">
                  <c:v>25.66</c:v>
                </c:pt>
                <c:pt idx="3312">
                  <c:v>25.010000000000005</c:v>
                </c:pt>
                <c:pt idx="3313">
                  <c:v>24.710000000000004</c:v>
                </c:pt>
                <c:pt idx="3314">
                  <c:v>25</c:v>
                </c:pt>
                <c:pt idx="3315">
                  <c:v>25.13</c:v>
                </c:pt>
                <c:pt idx="3316">
                  <c:v>26.719999999999995</c:v>
                </c:pt>
                <c:pt idx="3317">
                  <c:v>30.9</c:v>
                </c:pt>
                <c:pt idx="3318">
                  <c:v>39.910000000000004</c:v>
                </c:pt>
                <c:pt idx="3319">
                  <c:v>41.55</c:v>
                </c:pt>
                <c:pt idx="3320">
                  <c:v>39.9</c:v>
                </c:pt>
                <c:pt idx="3321">
                  <c:v>38.950000000000003</c:v>
                </c:pt>
                <c:pt idx="3322">
                  <c:v>39.79999999999999</c:v>
                </c:pt>
                <c:pt idx="3323">
                  <c:v>37.719999999999992</c:v>
                </c:pt>
                <c:pt idx="3324">
                  <c:v>36.380000000000003</c:v>
                </c:pt>
                <c:pt idx="3325">
                  <c:v>34.209999999999994</c:v>
                </c:pt>
                <c:pt idx="3326">
                  <c:v>33.76</c:v>
                </c:pt>
                <c:pt idx="3327">
                  <c:v>31.06</c:v>
                </c:pt>
                <c:pt idx="3328">
                  <c:v>35.14</c:v>
                </c:pt>
                <c:pt idx="3329">
                  <c:v>37.040000000000006</c:v>
                </c:pt>
                <c:pt idx="3330">
                  <c:v>33.82</c:v>
                </c:pt>
                <c:pt idx="3331">
                  <c:v>30.13</c:v>
                </c:pt>
                <c:pt idx="3332">
                  <c:v>28.64</c:v>
                </c:pt>
                <c:pt idx="3333">
                  <c:v>26.970000000000002</c:v>
                </c:pt>
                <c:pt idx="3334">
                  <c:v>25.060000000000002</c:v>
                </c:pt>
                <c:pt idx="3335">
                  <c:v>23.44</c:v>
                </c:pt>
                <c:pt idx="3336">
                  <c:v>23.04</c:v>
                </c:pt>
                <c:pt idx="3337">
                  <c:v>22.18</c:v>
                </c:pt>
                <c:pt idx="3338">
                  <c:v>20.94</c:v>
                </c:pt>
                <c:pt idx="3339">
                  <c:v>20.84</c:v>
                </c:pt>
                <c:pt idx="3340">
                  <c:v>22.569999999999997</c:v>
                </c:pt>
                <c:pt idx="3341">
                  <c:v>23.260000000000005</c:v>
                </c:pt>
                <c:pt idx="3342">
                  <c:v>23.78</c:v>
                </c:pt>
                <c:pt idx="3343">
                  <c:v>24.930000000000003</c:v>
                </c:pt>
                <c:pt idx="3344">
                  <c:v>25.220025351220031</c:v>
                </c:pt>
                <c:pt idx="3345">
                  <c:v>24.057434156378598</c:v>
                </c:pt>
                <c:pt idx="3346">
                  <c:v>24.11</c:v>
                </c:pt>
                <c:pt idx="3347">
                  <c:v>23.83</c:v>
                </c:pt>
                <c:pt idx="3348">
                  <c:v>22.83</c:v>
                </c:pt>
                <c:pt idx="3349">
                  <c:v>21.52745118940754</c:v>
                </c:pt>
                <c:pt idx="3350">
                  <c:v>21.807881546282069</c:v>
                </c:pt>
                <c:pt idx="3351">
                  <c:v>23.910709159149274</c:v>
                </c:pt>
                <c:pt idx="3352">
                  <c:v>25.029999999999998</c:v>
                </c:pt>
                <c:pt idx="3353">
                  <c:v>28.379999999999995</c:v>
                </c:pt>
                <c:pt idx="3354">
                  <c:v>27.17</c:v>
                </c:pt>
                <c:pt idx="3355">
                  <c:v>25.660000000000004</c:v>
                </c:pt>
                <c:pt idx="3356">
                  <c:v>26.49</c:v>
                </c:pt>
                <c:pt idx="3357">
                  <c:v>26.310000000000002</c:v>
                </c:pt>
                <c:pt idx="3358">
                  <c:v>25.19</c:v>
                </c:pt>
                <c:pt idx="3359">
                  <c:v>23.09</c:v>
                </c:pt>
                <c:pt idx="3360">
                  <c:v>18.12</c:v>
                </c:pt>
                <c:pt idx="3361">
                  <c:v>14.119999999999997</c:v>
                </c:pt>
                <c:pt idx="3362">
                  <c:v>12.180000000000001</c:v>
                </c:pt>
                <c:pt idx="3363">
                  <c:v>11.65</c:v>
                </c:pt>
                <c:pt idx="3364">
                  <c:v>11.520000000000001</c:v>
                </c:pt>
                <c:pt idx="3365">
                  <c:v>11.98</c:v>
                </c:pt>
                <c:pt idx="3366">
                  <c:v>12.36</c:v>
                </c:pt>
                <c:pt idx="3367">
                  <c:v>14.04</c:v>
                </c:pt>
                <c:pt idx="3368">
                  <c:v>18.79</c:v>
                </c:pt>
                <c:pt idx="3369">
                  <c:v>20.66</c:v>
                </c:pt>
                <c:pt idx="3370">
                  <c:v>20.799999999999997</c:v>
                </c:pt>
                <c:pt idx="3371">
                  <c:v>18.920000000000005</c:v>
                </c:pt>
                <c:pt idx="3372">
                  <c:v>17.88</c:v>
                </c:pt>
                <c:pt idx="3373">
                  <c:v>16.140000000000004</c:v>
                </c:pt>
                <c:pt idx="3374">
                  <c:v>12.355497403946003</c:v>
                </c:pt>
                <c:pt idx="3375">
                  <c:v>17.095092070650132</c:v>
                </c:pt>
                <c:pt idx="3376">
                  <c:v>23.05</c:v>
                </c:pt>
                <c:pt idx="3377">
                  <c:v>28.12</c:v>
                </c:pt>
                <c:pt idx="3378">
                  <c:v>32.909999999999997</c:v>
                </c:pt>
                <c:pt idx="3379">
                  <c:v>35.07</c:v>
                </c:pt>
                <c:pt idx="3380">
                  <c:v>35.32</c:v>
                </c:pt>
                <c:pt idx="3381">
                  <c:v>36.11</c:v>
                </c:pt>
                <c:pt idx="3382">
                  <c:v>31.82</c:v>
                </c:pt>
                <c:pt idx="3383">
                  <c:v>23.359999999999996</c:v>
                </c:pt>
                <c:pt idx="3384">
                  <c:v>23.14</c:v>
                </c:pt>
                <c:pt idx="3385">
                  <c:v>22.97</c:v>
                </c:pt>
                <c:pt idx="3386">
                  <c:v>22.869999999999997</c:v>
                </c:pt>
                <c:pt idx="3387">
                  <c:v>23.08</c:v>
                </c:pt>
                <c:pt idx="3388">
                  <c:v>24.490000000000002</c:v>
                </c:pt>
                <c:pt idx="3389">
                  <c:v>35.49</c:v>
                </c:pt>
                <c:pt idx="3390">
                  <c:v>40</c:v>
                </c:pt>
                <c:pt idx="3391">
                  <c:v>42.199999999999996</c:v>
                </c:pt>
                <c:pt idx="3392">
                  <c:v>38.82</c:v>
                </c:pt>
                <c:pt idx="3393">
                  <c:v>37.020000000000003</c:v>
                </c:pt>
                <c:pt idx="3394">
                  <c:v>36.989999999999995</c:v>
                </c:pt>
                <c:pt idx="3395">
                  <c:v>36.96</c:v>
                </c:pt>
                <c:pt idx="3396">
                  <c:v>37.909999999999989</c:v>
                </c:pt>
                <c:pt idx="3397">
                  <c:v>36.93</c:v>
                </c:pt>
                <c:pt idx="3398">
                  <c:v>36.94</c:v>
                </c:pt>
                <c:pt idx="3399">
                  <c:v>36.200000000000003</c:v>
                </c:pt>
                <c:pt idx="3400">
                  <c:v>38.71</c:v>
                </c:pt>
                <c:pt idx="3401">
                  <c:v>43.65</c:v>
                </c:pt>
                <c:pt idx="3402">
                  <c:v>44.36</c:v>
                </c:pt>
                <c:pt idx="3403">
                  <c:v>41.95</c:v>
                </c:pt>
                <c:pt idx="3404">
                  <c:v>41.21</c:v>
                </c:pt>
                <c:pt idx="3405">
                  <c:v>40.839999999999996</c:v>
                </c:pt>
                <c:pt idx="3406">
                  <c:v>34.07</c:v>
                </c:pt>
                <c:pt idx="3407">
                  <c:v>32.24</c:v>
                </c:pt>
                <c:pt idx="3408">
                  <c:v>32.17</c:v>
                </c:pt>
                <c:pt idx="3409">
                  <c:v>29.719999999999992</c:v>
                </c:pt>
                <c:pt idx="3410">
                  <c:v>28.05</c:v>
                </c:pt>
                <c:pt idx="3411">
                  <c:v>28.039999999999996</c:v>
                </c:pt>
                <c:pt idx="3412">
                  <c:v>29.71</c:v>
                </c:pt>
                <c:pt idx="3413">
                  <c:v>36.99</c:v>
                </c:pt>
                <c:pt idx="3414">
                  <c:v>41.78</c:v>
                </c:pt>
                <c:pt idx="3415">
                  <c:v>41.4</c:v>
                </c:pt>
                <c:pt idx="3416">
                  <c:v>41.889999999999993</c:v>
                </c:pt>
                <c:pt idx="3417">
                  <c:v>38.049999999999997</c:v>
                </c:pt>
                <c:pt idx="3418">
                  <c:v>36.94</c:v>
                </c:pt>
                <c:pt idx="3419">
                  <c:v>33.97</c:v>
                </c:pt>
                <c:pt idx="3420">
                  <c:v>30.499999999999996</c:v>
                </c:pt>
                <c:pt idx="3421">
                  <c:v>31.01</c:v>
                </c:pt>
                <c:pt idx="3422">
                  <c:v>29.099999999999998</c:v>
                </c:pt>
                <c:pt idx="3423">
                  <c:v>29.060000000000002</c:v>
                </c:pt>
                <c:pt idx="3424">
                  <c:v>31.839999999999996</c:v>
                </c:pt>
                <c:pt idx="3425">
                  <c:v>33.75</c:v>
                </c:pt>
                <c:pt idx="3426">
                  <c:v>33.504820758379708</c:v>
                </c:pt>
                <c:pt idx="3427">
                  <c:v>28.329350285998508</c:v>
                </c:pt>
                <c:pt idx="3428">
                  <c:v>29.41879065844272</c:v>
                </c:pt>
                <c:pt idx="3429">
                  <c:v>27.31</c:v>
                </c:pt>
                <c:pt idx="3430">
                  <c:v>24.989999999999995</c:v>
                </c:pt>
                <c:pt idx="3431">
                  <c:v>12.144987353836003</c:v>
                </c:pt>
                <c:pt idx="3432">
                  <c:v>21.22</c:v>
                </c:pt>
                <c:pt idx="3433">
                  <c:v>19.61</c:v>
                </c:pt>
                <c:pt idx="3434">
                  <c:v>19.639999999999997</c:v>
                </c:pt>
                <c:pt idx="3435">
                  <c:v>20.919999999999998</c:v>
                </c:pt>
                <c:pt idx="3436">
                  <c:v>23.22</c:v>
                </c:pt>
                <c:pt idx="3437">
                  <c:v>25.930000000000003</c:v>
                </c:pt>
                <c:pt idx="3438">
                  <c:v>33.64</c:v>
                </c:pt>
                <c:pt idx="3439">
                  <c:v>34.763529745846938</c:v>
                </c:pt>
                <c:pt idx="3440">
                  <c:v>33.735771661889991</c:v>
                </c:pt>
                <c:pt idx="3441">
                  <c:v>31.21</c:v>
                </c:pt>
                <c:pt idx="3442">
                  <c:v>32.35</c:v>
                </c:pt>
                <c:pt idx="3443">
                  <c:v>29.360000000000003</c:v>
                </c:pt>
                <c:pt idx="3444">
                  <c:v>28.11</c:v>
                </c:pt>
                <c:pt idx="3445">
                  <c:v>27.64</c:v>
                </c:pt>
                <c:pt idx="3446">
                  <c:v>26.25</c:v>
                </c:pt>
                <c:pt idx="3447">
                  <c:v>26.37</c:v>
                </c:pt>
                <c:pt idx="3448">
                  <c:v>27.83</c:v>
                </c:pt>
                <c:pt idx="3449">
                  <c:v>27.810000000000002</c:v>
                </c:pt>
                <c:pt idx="3450">
                  <c:v>32.64</c:v>
                </c:pt>
                <c:pt idx="3451">
                  <c:v>25.96</c:v>
                </c:pt>
                <c:pt idx="3452">
                  <c:v>26.690000000000005</c:v>
                </c:pt>
                <c:pt idx="3453">
                  <c:v>26.830000000000002</c:v>
                </c:pt>
                <c:pt idx="3454">
                  <c:v>25.18</c:v>
                </c:pt>
                <c:pt idx="3455">
                  <c:v>24.37</c:v>
                </c:pt>
                <c:pt idx="3456">
                  <c:v>23.84</c:v>
                </c:pt>
                <c:pt idx="3457">
                  <c:v>23.570000000000004</c:v>
                </c:pt>
                <c:pt idx="3458">
                  <c:v>23.4</c:v>
                </c:pt>
                <c:pt idx="3459">
                  <c:v>22.94</c:v>
                </c:pt>
                <c:pt idx="3460">
                  <c:v>24.09</c:v>
                </c:pt>
                <c:pt idx="3461">
                  <c:v>24.13</c:v>
                </c:pt>
                <c:pt idx="3462">
                  <c:v>24.93</c:v>
                </c:pt>
                <c:pt idx="3463">
                  <c:v>25.850000000000005</c:v>
                </c:pt>
                <c:pt idx="3464">
                  <c:v>25.789999999999996</c:v>
                </c:pt>
                <c:pt idx="3465">
                  <c:v>25.590000000000003</c:v>
                </c:pt>
                <c:pt idx="3466">
                  <c:v>26.02</c:v>
                </c:pt>
                <c:pt idx="3467">
                  <c:v>25.16</c:v>
                </c:pt>
                <c:pt idx="3468">
                  <c:v>22.020620714985309</c:v>
                </c:pt>
                <c:pt idx="3469">
                  <c:v>22.499288612887355</c:v>
                </c:pt>
                <c:pt idx="3470">
                  <c:v>20.371844823584027</c:v>
                </c:pt>
                <c:pt idx="3471">
                  <c:v>21.403555953217868</c:v>
                </c:pt>
                <c:pt idx="3472">
                  <c:v>26.978976037549401</c:v>
                </c:pt>
                <c:pt idx="3473">
                  <c:v>29.9</c:v>
                </c:pt>
                <c:pt idx="3474">
                  <c:v>27.119999999999997</c:v>
                </c:pt>
                <c:pt idx="3475">
                  <c:v>26.309999999999995</c:v>
                </c:pt>
                <c:pt idx="3476">
                  <c:v>27.910000000000004</c:v>
                </c:pt>
                <c:pt idx="3477">
                  <c:v>26.349999999999998</c:v>
                </c:pt>
                <c:pt idx="3478">
                  <c:v>25.31</c:v>
                </c:pt>
                <c:pt idx="3479">
                  <c:v>24.07</c:v>
                </c:pt>
                <c:pt idx="3480">
                  <c:v>23.69</c:v>
                </c:pt>
                <c:pt idx="3481">
                  <c:v>23.48</c:v>
                </c:pt>
                <c:pt idx="3482">
                  <c:v>22.94</c:v>
                </c:pt>
                <c:pt idx="3483">
                  <c:v>23.69</c:v>
                </c:pt>
                <c:pt idx="3484">
                  <c:v>24.999999999999996</c:v>
                </c:pt>
                <c:pt idx="3485">
                  <c:v>27.360000000000003</c:v>
                </c:pt>
                <c:pt idx="3486">
                  <c:v>37.93</c:v>
                </c:pt>
                <c:pt idx="3487">
                  <c:v>38.299999999999997</c:v>
                </c:pt>
                <c:pt idx="3488">
                  <c:v>36.479999999999997</c:v>
                </c:pt>
                <c:pt idx="3489">
                  <c:v>34.01</c:v>
                </c:pt>
                <c:pt idx="3490">
                  <c:v>33.080000000000005</c:v>
                </c:pt>
                <c:pt idx="3491">
                  <c:v>30.859999999999996</c:v>
                </c:pt>
                <c:pt idx="3492">
                  <c:v>28.32</c:v>
                </c:pt>
                <c:pt idx="3493">
                  <c:v>27.120000000000005</c:v>
                </c:pt>
                <c:pt idx="3494">
                  <c:v>27.530000000000008</c:v>
                </c:pt>
                <c:pt idx="3495">
                  <c:v>28.63</c:v>
                </c:pt>
                <c:pt idx="3496">
                  <c:v>34.64</c:v>
                </c:pt>
                <c:pt idx="3497">
                  <c:v>38.85</c:v>
                </c:pt>
                <c:pt idx="3498">
                  <c:v>41.969999999999992</c:v>
                </c:pt>
                <c:pt idx="3499">
                  <c:v>41.949999999999996</c:v>
                </c:pt>
                <c:pt idx="3500">
                  <c:v>39.99</c:v>
                </c:pt>
                <c:pt idx="3501">
                  <c:v>39.96</c:v>
                </c:pt>
                <c:pt idx="3502">
                  <c:v>35.200000000000003</c:v>
                </c:pt>
                <c:pt idx="3503">
                  <c:v>35.909999999999989</c:v>
                </c:pt>
                <c:pt idx="3504">
                  <c:v>31.029999999999998</c:v>
                </c:pt>
                <c:pt idx="3505">
                  <c:v>27.599999999999998</c:v>
                </c:pt>
                <c:pt idx="3506">
                  <c:v>26</c:v>
                </c:pt>
                <c:pt idx="3507">
                  <c:v>24.580000000000002</c:v>
                </c:pt>
                <c:pt idx="3508">
                  <c:v>24.400000000000002</c:v>
                </c:pt>
                <c:pt idx="3509">
                  <c:v>26.1</c:v>
                </c:pt>
                <c:pt idx="3510">
                  <c:v>29.140000000000004</c:v>
                </c:pt>
                <c:pt idx="3511">
                  <c:v>30.130000000000003</c:v>
                </c:pt>
                <c:pt idx="3512">
                  <c:v>29.36</c:v>
                </c:pt>
                <c:pt idx="3513">
                  <c:v>26.099999999999998</c:v>
                </c:pt>
                <c:pt idx="3514">
                  <c:v>24.782094633583384</c:v>
                </c:pt>
                <c:pt idx="3515">
                  <c:v>24.39</c:v>
                </c:pt>
                <c:pt idx="3516">
                  <c:v>24.319999999999997</c:v>
                </c:pt>
                <c:pt idx="3517">
                  <c:v>24.080000000000002</c:v>
                </c:pt>
                <c:pt idx="3518">
                  <c:v>23.89</c:v>
                </c:pt>
                <c:pt idx="3519">
                  <c:v>20.516354973198332</c:v>
                </c:pt>
                <c:pt idx="3520">
                  <c:v>27.16382281553398</c:v>
                </c:pt>
                <c:pt idx="3521">
                  <c:v>34.299999999999997</c:v>
                </c:pt>
                <c:pt idx="3522">
                  <c:v>37.130000000000003</c:v>
                </c:pt>
                <c:pt idx="3523">
                  <c:v>27.23</c:v>
                </c:pt>
                <c:pt idx="3524">
                  <c:v>26.240000000000002</c:v>
                </c:pt>
                <c:pt idx="3525">
                  <c:v>25.35</c:v>
                </c:pt>
                <c:pt idx="3526">
                  <c:v>24.079999999999995</c:v>
                </c:pt>
                <c:pt idx="3527">
                  <c:v>20.832679577973693</c:v>
                </c:pt>
                <c:pt idx="3528">
                  <c:v>16.079999999999998</c:v>
                </c:pt>
                <c:pt idx="3529">
                  <c:v>18.66</c:v>
                </c:pt>
                <c:pt idx="3530">
                  <c:v>16.579999999999998</c:v>
                </c:pt>
                <c:pt idx="3531">
                  <c:v>14.25</c:v>
                </c:pt>
                <c:pt idx="3532">
                  <c:v>9.91</c:v>
                </c:pt>
                <c:pt idx="3533">
                  <c:v>14.36</c:v>
                </c:pt>
                <c:pt idx="3534">
                  <c:v>18.27</c:v>
                </c:pt>
                <c:pt idx="3535">
                  <c:v>19.040000000000003</c:v>
                </c:pt>
                <c:pt idx="3536">
                  <c:v>22.820000000000004</c:v>
                </c:pt>
                <c:pt idx="3537">
                  <c:v>23.559999999999995</c:v>
                </c:pt>
                <c:pt idx="3538">
                  <c:v>23.39</c:v>
                </c:pt>
                <c:pt idx="3539">
                  <c:v>22.77</c:v>
                </c:pt>
                <c:pt idx="3540">
                  <c:v>22.449999999999996</c:v>
                </c:pt>
                <c:pt idx="3541">
                  <c:v>11.406724122807017</c:v>
                </c:pt>
                <c:pt idx="3542">
                  <c:v>11.706631196581197</c:v>
                </c:pt>
                <c:pt idx="3543">
                  <c:v>12.824237288135594</c:v>
                </c:pt>
                <c:pt idx="3544">
                  <c:v>22.393697616480122</c:v>
                </c:pt>
                <c:pt idx="3545">
                  <c:v>30.643833769981395</c:v>
                </c:pt>
                <c:pt idx="3546">
                  <c:v>34.67</c:v>
                </c:pt>
                <c:pt idx="3547">
                  <c:v>26</c:v>
                </c:pt>
                <c:pt idx="3548">
                  <c:v>25.82</c:v>
                </c:pt>
                <c:pt idx="3549">
                  <c:v>25.11</c:v>
                </c:pt>
                <c:pt idx="3550">
                  <c:v>24.060000000000002</c:v>
                </c:pt>
                <c:pt idx="3551">
                  <c:v>22.269999999999996</c:v>
                </c:pt>
                <c:pt idx="3552">
                  <c:v>21.399999999999995</c:v>
                </c:pt>
                <c:pt idx="3553">
                  <c:v>21.43</c:v>
                </c:pt>
                <c:pt idx="3554">
                  <c:v>22.03</c:v>
                </c:pt>
                <c:pt idx="3555">
                  <c:v>22.69</c:v>
                </c:pt>
                <c:pt idx="3556">
                  <c:v>24.82</c:v>
                </c:pt>
                <c:pt idx="3557">
                  <c:v>35.97</c:v>
                </c:pt>
                <c:pt idx="3558">
                  <c:v>41.67</c:v>
                </c:pt>
                <c:pt idx="3559">
                  <c:v>43.06</c:v>
                </c:pt>
                <c:pt idx="3560">
                  <c:v>42.71</c:v>
                </c:pt>
                <c:pt idx="3561">
                  <c:v>41.82</c:v>
                </c:pt>
                <c:pt idx="3562">
                  <c:v>41.32</c:v>
                </c:pt>
                <c:pt idx="3563">
                  <c:v>38.93</c:v>
                </c:pt>
                <c:pt idx="3564">
                  <c:v>38.33</c:v>
                </c:pt>
                <c:pt idx="3565">
                  <c:v>35.580000000000005</c:v>
                </c:pt>
                <c:pt idx="3566">
                  <c:v>36.320000000000007</c:v>
                </c:pt>
                <c:pt idx="3567">
                  <c:v>37</c:v>
                </c:pt>
                <c:pt idx="3568">
                  <c:v>42.18</c:v>
                </c:pt>
                <c:pt idx="3569">
                  <c:v>44.079999999999991</c:v>
                </c:pt>
                <c:pt idx="3570">
                  <c:v>46.149999999999991</c:v>
                </c:pt>
                <c:pt idx="3571">
                  <c:v>43.76</c:v>
                </c:pt>
                <c:pt idx="3572">
                  <c:v>42.02</c:v>
                </c:pt>
                <c:pt idx="3573">
                  <c:v>37.729999999999997</c:v>
                </c:pt>
                <c:pt idx="3574">
                  <c:v>32.69</c:v>
                </c:pt>
                <c:pt idx="3575">
                  <c:v>27.28</c:v>
                </c:pt>
                <c:pt idx="3576">
                  <c:v>26.54</c:v>
                </c:pt>
                <c:pt idx="3577">
                  <c:v>26.37</c:v>
                </c:pt>
                <c:pt idx="3578">
                  <c:v>26.290000000000003</c:v>
                </c:pt>
                <c:pt idx="3579">
                  <c:v>26.43</c:v>
                </c:pt>
                <c:pt idx="3580">
                  <c:v>31.299999999999997</c:v>
                </c:pt>
                <c:pt idx="3581">
                  <c:v>38.050000000000004</c:v>
                </c:pt>
                <c:pt idx="3582">
                  <c:v>49.6</c:v>
                </c:pt>
                <c:pt idx="3583">
                  <c:v>52.23</c:v>
                </c:pt>
                <c:pt idx="3584">
                  <c:v>50.08</c:v>
                </c:pt>
                <c:pt idx="3585">
                  <c:v>46.13</c:v>
                </c:pt>
                <c:pt idx="3586">
                  <c:v>44.319999999999993</c:v>
                </c:pt>
                <c:pt idx="3587">
                  <c:v>44.819999999999993</c:v>
                </c:pt>
                <c:pt idx="3588">
                  <c:v>43.1</c:v>
                </c:pt>
                <c:pt idx="3589">
                  <c:v>39.07</c:v>
                </c:pt>
                <c:pt idx="3590">
                  <c:v>34.03</c:v>
                </c:pt>
                <c:pt idx="3591">
                  <c:v>33.06</c:v>
                </c:pt>
                <c:pt idx="3592">
                  <c:v>35.100000000000009</c:v>
                </c:pt>
                <c:pt idx="3593">
                  <c:v>39.909999999999997</c:v>
                </c:pt>
                <c:pt idx="3594">
                  <c:v>40.949999999999996</c:v>
                </c:pt>
                <c:pt idx="3595">
                  <c:v>38.350000000000009</c:v>
                </c:pt>
                <c:pt idx="3596">
                  <c:v>36.83</c:v>
                </c:pt>
                <c:pt idx="3597">
                  <c:v>31.510000000000005</c:v>
                </c:pt>
                <c:pt idx="3598">
                  <c:v>26.14</c:v>
                </c:pt>
                <c:pt idx="3599">
                  <c:v>24.62</c:v>
                </c:pt>
                <c:pt idx="3600">
                  <c:v>23.87</c:v>
                </c:pt>
                <c:pt idx="3601">
                  <c:v>23.56</c:v>
                </c:pt>
                <c:pt idx="3602">
                  <c:v>22.579999999999995</c:v>
                </c:pt>
                <c:pt idx="3603">
                  <c:v>22.529999999999998</c:v>
                </c:pt>
                <c:pt idx="3604">
                  <c:v>23.980000000000004</c:v>
                </c:pt>
                <c:pt idx="3605">
                  <c:v>26.450000000000003</c:v>
                </c:pt>
                <c:pt idx="3606">
                  <c:v>29.292844629523263</c:v>
                </c:pt>
                <c:pt idx="3607">
                  <c:v>29.670185542833497</c:v>
                </c:pt>
                <c:pt idx="3608">
                  <c:v>28.452233420318546</c:v>
                </c:pt>
                <c:pt idx="3609">
                  <c:v>27.526207962633453</c:v>
                </c:pt>
                <c:pt idx="3610">
                  <c:v>27.15427042737301</c:v>
                </c:pt>
                <c:pt idx="3611">
                  <c:v>27.003746177033602</c:v>
                </c:pt>
                <c:pt idx="3612">
                  <c:v>26.775227242554323</c:v>
                </c:pt>
                <c:pt idx="3613">
                  <c:v>26.345817572848052</c:v>
                </c:pt>
                <c:pt idx="3614">
                  <c:v>25.985727099151902</c:v>
                </c:pt>
                <c:pt idx="3615">
                  <c:v>25.93</c:v>
                </c:pt>
                <c:pt idx="3616">
                  <c:v>26.070000000000004</c:v>
                </c:pt>
                <c:pt idx="3617">
                  <c:v>26.272613760217979</c:v>
                </c:pt>
                <c:pt idx="3618">
                  <c:v>26.43</c:v>
                </c:pt>
                <c:pt idx="3619">
                  <c:v>25.93</c:v>
                </c:pt>
                <c:pt idx="3620">
                  <c:v>26.2</c:v>
                </c:pt>
                <c:pt idx="3621">
                  <c:v>26.100000000000005</c:v>
                </c:pt>
                <c:pt idx="3622">
                  <c:v>25.269999999999996</c:v>
                </c:pt>
                <c:pt idx="3623">
                  <c:v>21.97</c:v>
                </c:pt>
                <c:pt idx="3624">
                  <c:v>21.23</c:v>
                </c:pt>
                <c:pt idx="3625">
                  <c:v>20.64</c:v>
                </c:pt>
                <c:pt idx="3626">
                  <c:v>20.689999999999998</c:v>
                </c:pt>
                <c:pt idx="3627">
                  <c:v>21.84</c:v>
                </c:pt>
                <c:pt idx="3628">
                  <c:v>23.69</c:v>
                </c:pt>
                <c:pt idx="3629">
                  <c:v>26.83</c:v>
                </c:pt>
                <c:pt idx="3630">
                  <c:v>37.39</c:v>
                </c:pt>
                <c:pt idx="3631">
                  <c:v>40.08</c:v>
                </c:pt>
                <c:pt idx="3632">
                  <c:v>38.029999999999994</c:v>
                </c:pt>
                <c:pt idx="3633">
                  <c:v>33.24</c:v>
                </c:pt>
                <c:pt idx="3634">
                  <c:v>33.000000000000007</c:v>
                </c:pt>
                <c:pt idx="3635">
                  <c:v>31.010000000000005</c:v>
                </c:pt>
                <c:pt idx="3636">
                  <c:v>31.86</c:v>
                </c:pt>
                <c:pt idx="3637">
                  <c:v>31.339999999999996</c:v>
                </c:pt>
                <c:pt idx="3638">
                  <c:v>34.08</c:v>
                </c:pt>
                <c:pt idx="3639">
                  <c:v>34.11</c:v>
                </c:pt>
                <c:pt idx="3640">
                  <c:v>36.67</c:v>
                </c:pt>
                <c:pt idx="3641">
                  <c:v>38.379999999999995</c:v>
                </c:pt>
                <c:pt idx="3642">
                  <c:v>42.04</c:v>
                </c:pt>
                <c:pt idx="3643">
                  <c:v>34.4</c:v>
                </c:pt>
                <c:pt idx="3644">
                  <c:v>34.469999999999992</c:v>
                </c:pt>
                <c:pt idx="3645">
                  <c:v>41.04</c:v>
                </c:pt>
                <c:pt idx="3646">
                  <c:v>34.290000000000006</c:v>
                </c:pt>
                <c:pt idx="3647">
                  <c:v>26.38</c:v>
                </c:pt>
                <c:pt idx="3648">
                  <c:v>25.829999999999995</c:v>
                </c:pt>
                <c:pt idx="3649">
                  <c:v>24.99</c:v>
                </c:pt>
                <c:pt idx="3650">
                  <c:v>24.59</c:v>
                </c:pt>
                <c:pt idx="3651">
                  <c:v>28.14</c:v>
                </c:pt>
                <c:pt idx="3652">
                  <c:v>28.36</c:v>
                </c:pt>
                <c:pt idx="3653">
                  <c:v>35.330000000000005</c:v>
                </c:pt>
                <c:pt idx="3654">
                  <c:v>40.240000000000009</c:v>
                </c:pt>
                <c:pt idx="3655">
                  <c:v>41.5</c:v>
                </c:pt>
                <c:pt idx="3656">
                  <c:v>39.96</c:v>
                </c:pt>
                <c:pt idx="3657">
                  <c:v>38.67</c:v>
                </c:pt>
                <c:pt idx="3658">
                  <c:v>38.83</c:v>
                </c:pt>
                <c:pt idx="3659">
                  <c:v>37.618833333333335</c:v>
                </c:pt>
                <c:pt idx="3660">
                  <c:v>35.34291208791209</c:v>
                </c:pt>
                <c:pt idx="3661">
                  <c:v>33.972397891963105</c:v>
                </c:pt>
                <c:pt idx="3662">
                  <c:v>34.82</c:v>
                </c:pt>
                <c:pt idx="3663">
                  <c:v>35.96</c:v>
                </c:pt>
                <c:pt idx="3664">
                  <c:v>39.70000000000001</c:v>
                </c:pt>
                <c:pt idx="3665">
                  <c:v>42.78</c:v>
                </c:pt>
                <c:pt idx="3666">
                  <c:v>44.899999999999991</c:v>
                </c:pt>
                <c:pt idx="3667">
                  <c:v>43.519999999999996</c:v>
                </c:pt>
                <c:pt idx="3668">
                  <c:v>41.98</c:v>
                </c:pt>
                <c:pt idx="3669">
                  <c:v>41.960000000000008</c:v>
                </c:pt>
                <c:pt idx="3670">
                  <c:v>36.64</c:v>
                </c:pt>
                <c:pt idx="3671">
                  <c:v>30.08</c:v>
                </c:pt>
                <c:pt idx="3672">
                  <c:v>30.76</c:v>
                </c:pt>
                <c:pt idx="3673">
                  <c:v>28.74</c:v>
                </c:pt>
                <c:pt idx="3674">
                  <c:v>27.06</c:v>
                </c:pt>
                <c:pt idx="3675">
                  <c:v>26.490000000000002</c:v>
                </c:pt>
                <c:pt idx="3676">
                  <c:v>25</c:v>
                </c:pt>
                <c:pt idx="3677">
                  <c:v>26.51</c:v>
                </c:pt>
                <c:pt idx="3678">
                  <c:v>26.890000000000004</c:v>
                </c:pt>
                <c:pt idx="3679">
                  <c:v>30.789999999999996</c:v>
                </c:pt>
                <c:pt idx="3680">
                  <c:v>31.25</c:v>
                </c:pt>
                <c:pt idx="3681">
                  <c:v>28.31</c:v>
                </c:pt>
                <c:pt idx="3682">
                  <c:v>27.03</c:v>
                </c:pt>
                <c:pt idx="3683">
                  <c:v>26.49</c:v>
                </c:pt>
                <c:pt idx="3684">
                  <c:v>26.930000000000003</c:v>
                </c:pt>
                <c:pt idx="3685">
                  <c:v>26.71</c:v>
                </c:pt>
                <c:pt idx="3686">
                  <c:v>26.969999999999995</c:v>
                </c:pt>
                <c:pt idx="3687">
                  <c:v>28.290000000000003</c:v>
                </c:pt>
                <c:pt idx="3688">
                  <c:v>33.940000000000005</c:v>
                </c:pt>
                <c:pt idx="3689">
                  <c:v>37.299999999999997</c:v>
                </c:pt>
                <c:pt idx="3690">
                  <c:v>38.159999999999997</c:v>
                </c:pt>
                <c:pt idx="3691">
                  <c:v>36.96</c:v>
                </c:pt>
                <c:pt idx="3692">
                  <c:v>36.97</c:v>
                </c:pt>
                <c:pt idx="3693">
                  <c:v>38.57</c:v>
                </c:pt>
                <c:pt idx="3694">
                  <c:v>35.909999999999989</c:v>
                </c:pt>
                <c:pt idx="3695">
                  <c:v>29.93</c:v>
                </c:pt>
                <c:pt idx="3696">
                  <c:v>26.93</c:v>
                </c:pt>
                <c:pt idx="3697">
                  <c:v>23.329374433363554</c:v>
                </c:pt>
                <c:pt idx="3698">
                  <c:v>22.579894697254609</c:v>
                </c:pt>
                <c:pt idx="3699">
                  <c:v>21.58</c:v>
                </c:pt>
                <c:pt idx="3700">
                  <c:v>19.98</c:v>
                </c:pt>
                <c:pt idx="3701">
                  <c:v>20.329999999999998</c:v>
                </c:pt>
                <c:pt idx="3702">
                  <c:v>22.93</c:v>
                </c:pt>
                <c:pt idx="3703">
                  <c:v>24.13</c:v>
                </c:pt>
                <c:pt idx="3704">
                  <c:v>24.99</c:v>
                </c:pt>
                <c:pt idx="3705">
                  <c:v>26.029999999999998</c:v>
                </c:pt>
                <c:pt idx="3706">
                  <c:v>25.85</c:v>
                </c:pt>
                <c:pt idx="3707">
                  <c:v>34.159999999999997</c:v>
                </c:pt>
                <c:pt idx="3708">
                  <c:v>18.6979666085223</c:v>
                </c:pt>
                <c:pt idx="3709">
                  <c:v>24.242105330764289</c:v>
                </c:pt>
                <c:pt idx="3710">
                  <c:v>24.008836396861231</c:v>
                </c:pt>
                <c:pt idx="3711">
                  <c:v>24.44</c:v>
                </c:pt>
                <c:pt idx="3712">
                  <c:v>14.19634424581494</c:v>
                </c:pt>
                <c:pt idx="3713">
                  <c:v>25.76</c:v>
                </c:pt>
                <c:pt idx="3714">
                  <c:v>31.06</c:v>
                </c:pt>
                <c:pt idx="3715">
                  <c:v>34.909999999999997</c:v>
                </c:pt>
                <c:pt idx="3716">
                  <c:v>29.580641295086625</c:v>
                </c:pt>
                <c:pt idx="3717">
                  <c:v>30.190025541988536</c:v>
                </c:pt>
                <c:pt idx="3718">
                  <c:v>26.32</c:v>
                </c:pt>
                <c:pt idx="3719">
                  <c:v>24.74</c:v>
                </c:pt>
                <c:pt idx="3720">
                  <c:v>23.93</c:v>
                </c:pt>
                <c:pt idx="3721">
                  <c:v>22.53</c:v>
                </c:pt>
                <c:pt idx="3722">
                  <c:v>21.68</c:v>
                </c:pt>
                <c:pt idx="3723">
                  <c:v>21.65</c:v>
                </c:pt>
                <c:pt idx="3724">
                  <c:v>23.09</c:v>
                </c:pt>
                <c:pt idx="3725">
                  <c:v>24.100000000000005</c:v>
                </c:pt>
                <c:pt idx="3726">
                  <c:v>24.62</c:v>
                </c:pt>
                <c:pt idx="3727">
                  <c:v>27.02</c:v>
                </c:pt>
                <c:pt idx="3728">
                  <c:v>27.052372881355932</c:v>
                </c:pt>
                <c:pt idx="3729">
                  <c:v>24.411824623560673</c:v>
                </c:pt>
                <c:pt idx="3730">
                  <c:v>25.31</c:v>
                </c:pt>
                <c:pt idx="3731">
                  <c:v>24.52</c:v>
                </c:pt>
                <c:pt idx="3732">
                  <c:v>24.11</c:v>
                </c:pt>
                <c:pt idx="3733">
                  <c:v>23.166858041683049</c:v>
                </c:pt>
                <c:pt idx="3734">
                  <c:v>23.928105320059462</c:v>
                </c:pt>
                <c:pt idx="3735">
                  <c:v>26</c:v>
                </c:pt>
                <c:pt idx="3736">
                  <c:v>28.739999999999995</c:v>
                </c:pt>
                <c:pt idx="3737">
                  <c:v>30.22</c:v>
                </c:pt>
                <c:pt idx="3738">
                  <c:v>39.01</c:v>
                </c:pt>
                <c:pt idx="3739">
                  <c:v>39.65</c:v>
                </c:pt>
                <c:pt idx="3740">
                  <c:v>38.61</c:v>
                </c:pt>
                <c:pt idx="3741">
                  <c:v>38.419999999999995</c:v>
                </c:pt>
                <c:pt idx="3742">
                  <c:v>26.099999999999998</c:v>
                </c:pt>
                <c:pt idx="3743">
                  <c:v>24.22</c:v>
                </c:pt>
                <c:pt idx="3744">
                  <c:v>19.41764134918709</c:v>
                </c:pt>
                <c:pt idx="3745">
                  <c:v>14.584099418979987</c:v>
                </c:pt>
                <c:pt idx="3746">
                  <c:v>10.57978120978121</c:v>
                </c:pt>
                <c:pt idx="3747">
                  <c:v>10.220000000000001</c:v>
                </c:pt>
                <c:pt idx="3748">
                  <c:v>13.874939012584704</c:v>
                </c:pt>
                <c:pt idx="3749">
                  <c:v>25.040601292205089</c:v>
                </c:pt>
                <c:pt idx="3750">
                  <c:v>30.359999999999996</c:v>
                </c:pt>
                <c:pt idx="3751">
                  <c:v>27.370000000000005</c:v>
                </c:pt>
                <c:pt idx="3752">
                  <c:v>27.14</c:v>
                </c:pt>
                <c:pt idx="3753">
                  <c:v>26.719999999999995</c:v>
                </c:pt>
                <c:pt idx="3754">
                  <c:v>26.309999999999995</c:v>
                </c:pt>
                <c:pt idx="3755">
                  <c:v>25.901334496693607</c:v>
                </c:pt>
                <c:pt idx="3756">
                  <c:v>23.504727359078629</c:v>
                </c:pt>
                <c:pt idx="3757">
                  <c:v>22.677460066196577</c:v>
                </c:pt>
                <c:pt idx="3758">
                  <c:v>20.26087717355189</c:v>
                </c:pt>
                <c:pt idx="3759">
                  <c:v>19.105481324761982</c:v>
                </c:pt>
                <c:pt idx="3760">
                  <c:v>21.95</c:v>
                </c:pt>
                <c:pt idx="3761">
                  <c:v>22.72</c:v>
                </c:pt>
                <c:pt idx="3762">
                  <c:v>23.08</c:v>
                </c:pt>
                <c:pt idx="3763">
                  <c:v>21.919999999999998</c:v>
                </c:pt>
                <c:pt idx="3764">
                  <c:v>20.440000000000005</c:v>
                </c:pt>
                <c:pt idx="3765">
                  <c:v>20.23</c:v>
                </c:pt>
                <c:pt idx="3766">
                  <c:v>4.8067024188179595</c:v>
                </c:pt>
                <c:pt idx="3767">
                  <c:v>10.67</c:v>
                </c:pt>
                <c:pt idx="3768">
                  <c:v>8.7999999999999989</c:v>
                </c:pt>
                <c:pt idx="3769">
                  <c:v>6.8200000000000012</c:v>
                </c:pt>
                <c:pt idx="3770">
                  <c:v>4.63</c:v>
                </c:pt>
                <c:pt idx="3771">
                  <c:v>4.42</c:v>
                </c:pt>
                <c:pt idx="3772">
                  <c:v>5.7100000000000009</c:v>
                </c:pt>
                <c:pt idx="3773">
                  <c:v>19.8</c:v>
                </c:pt>
                <c:pt idx="3774">
                  <c:v>23.680000000000003</c:v>
                </c:pt>
                <c:pt idx="3775">
                  <c:v>24.530000000000005</c:v>
                </c:pt>
                <c:pt idx="3776">
                  <c:v>23.929999999999996</c:v>
                </c:pt>
                <c:pt idx="3777">
                  <c:v>23.580000000000002</c:v>
                </c:pt>
                <c:pt idx="3778">
                  <c:v>22.99</c:v>
                </c:pt>
                <c:pt idx="3779">
                  <c:v>22.270000000000003</c:v>
                </c:pt>
                <c:pt idx="3780">
                  <c:v>22.170000000000005</c:v>
                </c:pt>
                <c:pt idx="3781">
                  <c:v>12.677981226380593</c:v>
                </c:pt>
                <c:pt idx="3782">
                  <c:v>12.605163828537876</c:v>
                </c:pt>
                <c:pt idx="3783">
                  <c:v>12.71025132013667</c:v>
                </c:pt>
                <c:pt idx="3784">
                  <c:v>19.7</c:v>
                </c:pt>
                <c:pt idx="3785">
                  <c:v>20.369999999999997</c:v>
                </c:pt>
                <c:pt idx="3786">
                  <c:v>23.13</c:v>
                </c:pt>
                <c:pt idx="3787">
                  <c:v>22.03</c:v>
                </c:pt>
                <c:pt idx="3788">
                  <c:v>21.97</c:v>
                </c:pt>
                <c:pt idx="3789">
                  <c:v>21.580000000000002</c:v>
                </c:pt>
                <c:pt idx="3790">
                  <c:v>18.399999999999999</c:v>
                </c:pt>
                <c:pt idx="3791">
                  <c:v>14.427113705805324</c:v>
                </c:pt>
                <c:pt idx="3792">
                  <c:v>10.199999999999998</c:v>
                </c:pt>
                <c:pt idx="3793">
                  <c:v>9.91</c:v>
                </c:pt>
                <c:pt idx="3794">
                  <c:v>9.86</c:v>
                </c:pt>
                <c:pt idx="3795">
                  <c:v>9.92</c:v>
                </c:pt>
                <c:pt idx="3796">
                  <c:v>18.600000000000005</c:v>
                </c:pt>
                <c:pt idx="3797">
                  <c:v>24.090000000000003</c:v>
                </c:pt>
                <c:pt idx="3798">
                  <c:v>27.98</c:v>
                </c:pt>
                <c:pt idx="3799">
                  <c:v>29.300000000000004</c:v>
                </c:pt>
                <c:pt idx="3800">
                  <c:v>29.39</c:v>
                </c:pt>
                <c:pt idx="3801">
                  <c:v>31.470000000000002</c:v>
                </c:pt>
                <c:pt idx="3802">
                  <c:v>31.669999999999998</c:v>
                </c:pt>
                <c:pt idx="3803">
                  <c:v>30.38</c:v>
                </c:pt>
                <c:pt idx="3804">
                  <c:v>30</c:v>
                </c:pt>
                <c:pt idx="3805">
                  <c:v>29.880000000000003</c:v>
                </c:pt>
                <c:pt idx="3806">
                  <c:v>30.020000000000003</c:v>
                </c:pt>
                <c:pt idx="3807">
                  <c:v>31.65</c:v>
                </c:pt>
                <c:pt idx="3808">
                  <c:v>34.79</c:v>
                </c:pt>
                <c:pt idx="3809">
                  <c:v>38.010000000000005</c:v>
                </c:pt>
                <c:pt idx="3810">
                  <c:v>43.91</c:v>
                </c:pt>
                <c:pt idx="3811">
                  <c:v>41.87</c:v>
                </c:pt>
                <c:pt idx="3812">
                  <c:v>37.6</c:v>
                </c:pt>
                <c:pt idx="3813">
                  <c:v>36.13000000000001</c:v>
                </c:pt>
                <c:pt idx="3814">
                  <c:v>28.08</c:v>
                </c:pt>
                <c:pt idx="3815">
                  <c:v>26.76</c:v>
                </c:pt>
                <c:pt idx="3816">
                  <c:v>24.909999999999997</c:v>
                </c:pt>
                <c:pt idx="3817">
                  <c:v>24.610000000000003</c:v>
                </c:pt>
                <c:pt idx="3818">
                  <c:v>24.039999999999996</c:v>
                </c:pt>
                <c:pt idx="3819">
                  <c:v>24.299999999999997</c:v>
                </c:pt>
                <c:pt idx="3820">
                  <c:v>27.54</c:v>
                </c:pt>
                <c:pt idx="3821">
                  <c:v>33.29</c:v>
                </c:pt>
                <c:pt idx="3822">
                  <c:v>39.379999999999995</c:v>
                </c:pt>
                <c:pt idx="3823">
                  <c:v>42.590000000000011</c:v>
                </c:pt>
                <c:pt idx="3824">
                  <c:v>40.590000000000003</c:v>
                </c:pt>
                <c:pt idx="3825">
                  <c:v>40.22</c:v>
                </c:pt>
                <c:pt idx="3826">
                  <c:v>40.81</c:v>
                </c:pt>
                <c:pt idx="3827">
                  <c:v>36.380000000000003</c:v>
                </c:pt>
                <c:pt idx="3828">
                  <c:v>33.83</c:v>
                </c:pt>
                <c:pt idx="3829">
                  <c:v>31.05</c:v>
                </c:pt>
                <c:pt idx="3830">
                  <c:v>29.089999999999996</c:v>
                </c:pt>
                <c:pt idx="3831">
                  <c:v>29.690000000000005</c:v>
                </c:pt>
                <c:pt idx="3832">
                  <c:v>31.439999999999998</c:v>
                </c:pt>
                <c:pt idx="3833">
                  <c:v>33.199999999999996</c:v>
                </c:pt>
                <c:pt idx="3834">
                  <c:v>35.07</c:v>
                </c:pt>
                <c:pt idx="3835">
                  <c:v>34.97</c:v>
                </c:pt>
                <c:pt idx="3836">
                  <c:v>35.9</c:v>
                </c:pt>
                <c:pt idx="3837">
                  <c:v>37.86</c:v>
                </c:pt>
                <c:pt idx="3838">
                  <c:v>36.01</c:v>
                </c:pt>
                <c:pt idx="3839">
                  <c:v>34.65</c:v>
                </c:pt>
                <c:pt idx="3840">
                  <c:v>24.47</c:v>
                </c:pt>
                <c:pt idx="3841">
                  <c:v>24.1</c:v>
                </c:pt>
                <c:pt idx="3842">
                  <c:v>23.649999999999995</c:v>
                </c:pt>
                <c:pt idx="3843">
                  <c:v>23.19</c:v>
                </c:pt>
                <c:pt idx="3844">
                  <c:v>23.67</c:v>
                </c:pt>
                <c:pt idx="3845">
                  <c:v>27.79</c:v>
                </c:pt>
                <c:pt idx="3846">
                  <c:v>29.710000000000004</c:v>
                </c:pt>
                <c:pt idx="3847">
                  <c:v>30.9</c:v>
                </c:pt>
                <c:pt idx="3848">
                  <c:v>31.94</c:v>
                </c:pt>
                <c:pt idx="3849">
                  <c:v>29.9</c:v>
                </c:pt>
                <c:pt idx="3850">
                  <c:v>29.94</c:v>
                </c:pt>
                <c:pt idx="3851">
                  <c:v>28.35</c:v>
                </c:pt>
                <c:pt idx="3852">
                  <c:v>25.860000000000003</c:v>
                </c:pt>
                <c:pt idx="3853">
                  <c:v>25.01</c:v>
                </c:pt>
                <c:pt idx="3854">
                  <c:v>25.029999999999998</c:v>
                </c:pt>
                <c:pt idx="3855">
                  <c:v>26.599999999999998</c:v>
                </c:pt>
                <c:pt idx="3856">
                  <c:v>29.1</c:v>
                </c:pt>
                <c:pt idx="3857">
                  <c:v>35.410000000000004</c:v>
                </c:pt>
                <c:pt idx="3858">
                  <c:v>38.24</c:v>
                </c:pt>
                <c:pt idx="3859">
                  <c:v>38.78</c:v>
                </c:pt>
                <c:pt idx="3860">
                  <c:v>38.28</c:v>
                </c:pt>
                <c:pt idx="3861">
                  <c:v>39.68</c:v>
                </c:pt>
                <c:pt idx="3862">
                  <c:v>36.94</c:v>
                </c:pt>
                <c:pt idx="3863">
                  <c:v>29.1</c:v>
                </c:pt>
                <c:pt idx="3864">
                  <c:v>25.12</c:v>
                </c:pt>
                <c:pt idx="3865">
                  <c:v>21.78</c:v>
                </c:pt>
                <c:pt idx="3866">
                  <c:v>18</c:v>
                </c:pt>
                <c:pt idx="3867">
                  <c:v>15.389999999999999</c:v>
                </c:pt>
                <c:pt idx="3868">
                  <c:v>12.599999999999998</c:v>
                </c:pt>
                <c:pt idx="3869">
                  <c:v>12.84</c:v>
                </c:pt>
                <c:pt idx="3870">
                  <c:v>16.489999999999998</c:v>
                </c:pt>
                <c:pt idx="3871">
                  <c:v>18.43</c:v>
                </c:pt>
                <c:pt idx="3872">
                  <c:v>20.860000000000003</c:v>
                </c:pt>
                <c:pt idx="3873">
                  <c:v>21.91</c:v>
                </c:pt>
                <c:pt idx="3874">
                  <c:v>21.88</c:v>
                </c:pt>
                <c:pt idx="3875">
                  <c:v>13.165003729869673</c:v>
                </c:pt>
                <c:pt idx="3876">
                  <c:v>11.594362214746793</c:v>
                </c:pt>
                <c:pt idx="3877">
                  <c:v>12.789708265802268</c:v>
                </c:pt>
                <c:pt idx="3878">
                  <c:v>18.395155279503104</c:v>
                </c:pt>
                <c:pt idx="3879">
                  <c:v>19.252122048038757</c:v>
                </c:pt>
                <c:pt idx="3880">
                  <c:v>23.58</c:v>
                </c:pt>
                <c:pt idx="3881">
                  <c:v>30.359999999999996</c:v>
                </c:pt>
                <c:pt idx="3882">
                  <c:v>33.130000000000003</c:v>
                </c:pt>
                <c:pt idx="3883">
                  <c:v>33.619999999999997</c:v>
                </c:pt>
                <c:pt idx="3884">
                  <c:v>33.4</c:v>
                </c:pt>
                <c:pt idx="3885">
                  <c:v>33.700000000000003</c:v>
                </c:pt>
                <c:pt idx="3886">
                  <c:v>24.36</c:v>
                </c:pt>
                <c:pt idx="3887">
                  <c:v>24.220000000000002</c:v>
                </c:pt>
                <c:pt idx="3888">
                  <c:v>20.660000000000004</c:v>
                </c:pt>
                <c:pt idx="3889">
                  <c:v>18.149999999999999</c:v>
                </c:pt>
                <c:pt idx="3890">
                  <c:v>14.600000000000001</c:v>
                </c:pt>
                <c:pt idx="3891">
                  <c:v>15.66</c:v>
                </c:pt>
                <c:pt idx="3892">
                  <c:v>19.88</c:v>
                </c:pt>
                <c:pt idx="3893">
                  <c:v>24.73</c:v>
                </c:pt>
                <c:pt idx="3894">
                  <c:v>33.17</c:v>
                </c:pt>
                <c:pt idx="3895">
                  <c:v>33.840000000000003</c:v>
                </c:pt>
                <c:pt idx="3896">
                  <c:v>29.950000000000003</c:v>
                </c:pt>
                <c:pt idx="3897">
                  <c:v>28.259999999999998</c:v>
                </c:pt>
                <c:pt idx="3898">
                  <c:v>26.728824450408993</c:v>
                </c:pt>
                <c:pt idx="3899">
                  <c:v>19.555537223749873</c:v>
                </c:pt>
                <c:pt idx="3900">
                  <c:v>13.704269810869045</c:v>
                </c:pt>
                <c:pt idx="3901">
                  <c:v>13.263654485049836</c:v>
                </c:pt>
                <c:pt idx="3902">
                  <c:v>13.900050125313282</c:v>
                </c:pt>
                <c:pt idx="3903">
                  <c:v>12.533192736729246</c:v>
                </c:pt>
                <c:pt idx="3904">
                  <c:v>20.301999353483108</c:v>
                </c:pt>
                <c:pt idx="3905">
                  <c:v>24.310000000000002</c:v>
                </c:pt>
                <c:pt idx="3906">
                  <c:v>23.939999999999998</c:v>
                </c:pt>
                <c:pt idx="3907">
                  <c:v>23.33</c:v>
                </c:pt>
                <c:pt idx="3908">
                  <c:v>23.259999999999998</c:v>
                </c:pt>
                <c:pt idx="3909">
                  <c:v>22.38</c:v>
                </c:pt>
                <c:pt idx="3910">
                  <c:v>20.010000000000002</c:v>
                </c:pt>
                <c:pt idx="3911">
                  <c:v>17.98</c:v>
                </c:pt>
                <c:pt idx="3912">
                  <c:v>10.699999999999998</c:v>
                </c:pt>
                <c:pt idx="3913">
                  <c:v>7.87</c:v>
                </c:pt>
                <c:pt idx="3914">
                  <c:v>7.42</c:v>
                </c:pt>
                <c:pt idx="3915">
                  <c:v>8.92</c:v>
                </c:pt>
                <c:pt idx="3916">
                  <c:v>15.85</c:v>
                </c:pt>
                <c:pt idx="3917">
                  <c:v>22.67</c:v>
                </c:pt>
                <c:pt idx="3918">
                  <c:v>25.6</c:v>
                </c:pt>
                <c:pt idx="3919">
                  <c:v>27.710000000000004</c:v>
                </c:pt>
                <c:pt idx="3920">
                  <c:v>25.554126984126984</c:v>
                </c:pt>
                <c:pt idx="3921">
                  <c:v>25.493491736113043</c:v>
                </c:pt>
                <c:pt idx="3922">
                  <c:v>25.833968253968251</c:v>
                </c:pt>
                <c:pt idx="3923">
                  <c:v>25.499231192862648</c:v>
                </c:pt>
                <c:pt idx="3924">
                  <c:v>25.530068851409055</c:v>
                </c:pt>
                <c:pt idx="3925">
                  <c:v>25.41511234066758</c:v>
                </c:pt>
                <c:pt idx="3926">
                  <c:v>25.155339815976578</c:v>
                </c:pt>
                <c:pt idx="3927">
                  <c:v>24.913982918837622</c:v>
                </c:pt>
                <c:pt idx="3928">
                  <c:v>29.13</c:v>
                </c:pt>
                <c:pt idx="3929">
                  <c:v>35.479999999999997</c:v>
                </c:pt>
                <c:pt idx="3930">
                  <c:v>37.909999999999997</c:v>
                </c:pt>
                <c:pt idx="3931">
                  <c:v>34.31</c:v>
                </c:pt>
                <c:pt idx="3932">
                  <c:v>34.11999999999999</c:v>
                </c:pt>
                <c:pt idx="3933">
                  <c:v>32.14</c:v>
                </c:pt>
                <c:pt idx="3934">
                  <c:v>26.22</c:v>
                </c:pt>
                <c:pt idx="3935">
                  <c:v>24.209999999999997</c:v>
                </c:pt>
                <c:pt idx="3936">
                  <c:v>23.33</c:v>
                </c:pt>
                <c:pt idx="3937">
                  <c:v>23.1</c:v>
                </c:pt>
                <c:pt idx="3938">
                  <c:v>23.13</c:v>
                </c:pt>
                <c:pt idx="3939">
                  <c:v>23.37</c:v>
                </c:pt>
                <c:pt idx="3940">
                  <c:v>24.059999999999995</c:v>
                </c:pt>
                <c:pt idx="3941">
                  <c:v>34.4</c:v>
                </c:pt>
                <c:pt idx="3942">
                  <c:v>41.26</c:v>
                </c:pt>
                <c:pt idx="3943">
                  <c:v>43.76</c:v>
                </c:pt>
                <c:pt idx="3944">
                  <c:v>41.63</c:v>
                </c:pt>
                <c:pt idx="3945">
                  <c:v>41.12</c:v>
                </c:pt>
                <c:pt idx="3946">
                  <c:v>39.93</c:v>
                </c:pt>
                <c:pt idx="3947">
                  <c:v>36.94</c:v>
                </c:pt>
                <c:pt idx="3948">
                  <c:v>35.990000000000009</c:v>
                </c:pt>
                <c:pt idx="3949">
                  <c:v>35.92</c:v>
                </c:pt>
                <c:pt idx="3950">
                  <c:v>35.020000000000003</c:v>
                </c:pt>
                <c:pt idx="3951">
                  <c:v>35.85</c:v>
                </c:pt>
                <c:pt idx="3952">
                  <c:v>40.529999999999994</c:v>
                </c:pt>
                <c:pt idx="3953">
                  <c:v>45.26</c:v>
                </c:pt>
                <c:pt idx="3954">
                  <c:v>49.95</c:v>
                </c:pt>
                <c:pt idx="3955">
                  <c:v>44.64</c:v>
                </c:pt>
                <c:pt idx="3956">
                  <c:v>42.91</c:v>
                </c:pt>
                <c:pt idx="3957">
                  <c:v>42.8</c:v>
                </c:pt>
                <c:pt idx="3958">
                  <c:v>35.44</c:v>
                </c:pt>
                <c:pt idx="3959">
                  <c:v>33</c:v>
                </c:pt>
                <c:pt idx="3960">
                  <c:v>31.040000000000003</c:v>
                </c:pt>
                <c:pt idx="3961">
                  <c:v>30.97</c:v>
                </c:pt>
                <c:pt idx="3962">
                  <c:v>29.39</c:v>
                </c:pt>
                <c:pt idx="3963">
                  <c:v>28.8</c:v>
                </c:pt>
                <c:pt idx="3964">
                  <c:v>28.88</c:v>
                </c:pt>
                <c:pt idx="3965">
                  <c:v>32.020000000000003</c:v>
                </c:pt>
                <c:pt idx="3966">
                  <c:v>37.81</c:v>
                </c:pt>
                <c:pt idx="3967">
                  <c:v>38.000000000000007</c:v>
                </c:pt>
                <c:pt idx="3968">
                  <c:v>35.489999999999995</c:v>
                </c:pt>
                <c:pt idx="3969">
                  <c:v>30.69</c:v>
                </c:pt>
                <c:pt idx="3970">
                  <c:v>32.76</c:v>
                </c:pt>
                <c:pt idx="3971">
                  <c:v>29.14</c:v>
                </c:pt>
                <c:pt idx="3972">
                  <c:v>28.41</c:v>
                </c:pt>
                <c:pt idx="3973">
                  <c:v>29.03</c:v>
                </c:pt>
                <c:pt idx="3974">
                  <c:v>27.159999999999997</c:v>
                </c:pt>
                <c:pt idx="3975">
                  <c:v>29.51</c:v>
                </c:pt>
                <c:pt idx="3976">
                  <c:v>33.809999999999995</c:v>
                </c:pt>
                <c:pt idx="3977">
                  <c:v>36.9</c:v>
                </c:pt>
                <c:pt idx="3978">
                  <c:v>37.01</c:v>
                </c:pt>
                <c:pt idx="3979">
                  <c:v>36.620000000000005</c:v>
                </c:pt>
                <c:pt idx="3980">
                  <c:v>35.020000000000003</c:v>
                </c:pt>
                <c:pt idx="3981">
                  <c:v>34.580000000000005</c:v>
                </c:pt>
                <c:pt idx="3982">
                  <c:v>29.28</c:v>
                </c:pt>
                <c:pt idx="3983">
                  <c:v>24.74</c:v>
                </c:pt>
                <c:pt idx="3984">
                  <c:v>23.35</c:v>
                </c:pt>
                <c:pt idx="3985">
                  <c:v>22</c:v>
                </c:pt>
                <c:pt idx="3986">
                  <c:v>21.069999999999997</c:v>
                </c:pt>
                <c:pt idx="3987">
                  <c:v>21.049999999999997</c:v>
                </c:pt>
                <c:pt idx="3988">
                  <c:v>22.409999999999997</c:v>
                </c:pt>
                <c:pt idx="3989">
                  <c:v>25.94</c:v>
                </c:pt>
                <c:pt idx="3990">
                  <c:v>30.77</c:v>
                </c:pt>
                <c:pt idx="3991">
                  <c:v>27.970000000000002</c:v>
                </c:pt>
                <c:pt idx="3992">
                  <c:v>27.1845605714451</c:v>
                </c:pt>
                <c:pt idx="3993">
                  <c:v>22.444991921585522</c:v>
                </c:pt>
                <c:pt idx="3994">
                  <c:v>19.926000465152338</c:v>
                </c:pt>
                <c:pt idx="3995">
                  <c:v>12.647811355079972</c:v>
                </c:pt>
                <c:pt idx="3996">
                  <c:v>10.81717537584111</c:v>
                </c:pt>
                <c:pt idx="3997">
                  <c:v>5.7889222803187987</c:v>
                </c:pt>
                <c:pt idx="3998">
                  <c:v>6.3583663366336642</c:v>
                </c:pt>
                <c:pt idx="3999">
                  <c:v>10.514771855010661</c:v>
                </c:pt>
                <c:pt idx="4000">
                  <c:v>12.462573922838637</c:v>
                </c:pt>
                <c:pt idx="4001">
                  <c:v>20.937530529817057</c:v>
                </c:pt>
                <c:pt idx="4002">
                  <c:v>24.04</c:v>
                </c:pt>
                <c:pt idx="4003">
                  <c:v>23.790482734496024</c:v>
                </c:pt>
                <c:pt idx="4004">
                  <c:v>23.764788549121665</c:v>
                </c:pt>
                <c:pt idx="4005">
                  <c:v>24.475199529260721</c:v>
                </c:pt>
                <c:pt idx="4006">
                  <c:v>21.829999999999995</c:v>
                </c:pt>
                <c:pt idx="4007">
                  <c:v>19.928229446914557</c:v>
                </c:pt>
                <c:pt idx="4008">
                  <c:v>15.725231194131798</c:v>
                </c:pt>
                <c:pt idx="4009">
                  <c:v>17.079999999999998</c:v>
                </c:pt>
                <c:pt idx="4010">
                  <c:v>19.489999999999998</c:v>
                </c:pt>
                <c:pt idx="4011">
                  <c:v>18.46</c:v>
                </c:pt>
                <c:pt idx="4012">
                  <c:v>19.77</c:v>
                </c:pt>
                <c:pt idx="4013">
                  <c:v>19.140000000000004</c:v>
                </c:pt>
                <c:pt idx="4014">
                  <c:v>21</c:v>
                </c:pt>
                <c:pt idx="4015">
                  <c:v>23.009999999999998</c:v>
                </c:pt>
                <c:pt idx="4016">
                  <c:v>23.489999999999995</c:v>
                </c:pt>
                <c:pt idx="4017">
                  <c:v>23.239999999999995</c:v>
                </c:pt>
                <c:pt idx="4018">
                  <c:v>23.09</c:v>
                </c:pt>
                <c:pt idx="4019">
                  <c:v>22.82</c:v>
                </c:pt>
                <c:pt idx="4020">
                  <c:v>22.550000000000004</c:v>
                </c:pt>
                <c:pt idx="4021">
                  <c:v>21.147997256515772</c:v>
                </c:pt>
                <c:pt idx="4022">
                  <c:v>20.708476021780491</c:v>
                </c:pt>
                <c:pt idx="4023">
                  <c:v>22.754401584158416</c:v>
                </c:pt>
                <c:pt idx="4024">
                  <c:v>27.62</c:v>
                </c:pt>
                <c:pt idx="4025">
                  <c:v>31.629999999999995</c:v>
                </c:pt>
                <c:pt idx="4026">
                  <c:v>35.099999999999994</c:v>
                </c:pt>
                <c:pt idx="4027">
                  <c:v>35.83</c:v>
                </c:pt>
                <c:pt idx="4028">
                  <c:v>36.97</c:v>
                </c:pt>
                <c:pt idx="4029">
                  <c:v>38</c:v>
                </c:pt>
                <c:pt idx="4030">
                  <c:v>35.849999999999994</c:v>
                </c:pt>
                <c:pt idx="4031">
                  <c:v>35.990000000000009</c:v>
                </c:pt>
                <c:pt idx="4032">
                  <c:v>30.079999999999995</c:v>
                </c:pt>
                <c:pt idx="4033">
                  <c:v>28.53</c:v>
                </c:pt>
                <c:pt idx="4034">
                  <c:v>26.81</c:v>
                </c:pt>
                <c:pt idx="4035">
                  <c:v>25.11</c:v>
                </c:pt>
                <c:pt idx="4036">
                  <c:v>24.289999999999996</c:v>
                </c:pt>
                <c:pt idx="4037">
                  <c:v>24.33</c:v>
                </c:pt>
                <c:pt idx="4038">
                  <c:v>25.68</c:v>
                </c:pt>
                <c:pt idx="4039">
                  <c:v>25.540000000000003</c:v>
                </c:pt>
                <c:pt idx="4040">
                  <c:v>24.4</c:v>
                </c:pt>
                <c:pt idx="4041">
                  <c:v>24.34</c:v>
                </c:pt>
                <c:pt idx="4042">
                  <c:v>24.240000000000002</c:v>
                </c:pt>
                <c:pt idx="4043">
                  <c:v>24.13</c:v>
                </c:pt>
                <c:pt idx="4044">
                  <c:v>23.530000000000005</c:v>
                </c:pt>
                <c:pt idx="4045">
                  <c:v>21.979999999999997</c:v>
                </c:pt>
                <c:pt idx="4046">
                  <c:v>22.9</c:v>
                </c:pt>
                <c:pt idx="4047">
                  <c:v>23.6</c:v>
                </c:pt>
                <c:pt idx="4048">
                  <c:v>27.179999999999996</c:v>
                </c:pt>
                <c:pt idx="4049">
                  <c:v>33.520000000000003</c:v>
                </c:pt>
                <c:pt idx="4050">
                  <c:v>37.479999999999997</c:v>
                </c:pt>
                <c:pt idx="4051">
                  <c:v>38.979999999999997</c:v>
                </c:pt>
                <c:pt idx="4052">
                  <c:v>39.090000000000003</c:v>
                </c:pt>
                <c:pt idx="4053">
                  <c:v>41.22</c:v>
                </c:pt>
                <c:pt idx="4054">
                  <c:v>37.08</c:v>
                </c:pt>
                <c:pt idx="4055">
                  <c:v>24.08</c:v>
                </c:pt>
                <c:pt idx="4056">
                  <c:v>23.760000000000005</c:v>
                </c:pt>
                <c:pt idx="4057">
                  <c:v>23.32</c:v>
                </c:pt>
                <c:pt idx="4058">
                  <c:v>23.119999999999997</c:v>
                </c:pt>
                <c:pt idx="4059">
                  <c:v>28.57</c:v>
                </c:pt>
                <c:pt idx="4060">
                  <c:v>29.099999999999998</c:v>
                </c:pt>
                <c:pt idx="4061">
                  <c:v>38.29999999999999</c:v>
                </c:pt>
                <c:pt idx="4062">
                  <c:v>42.97</c:v>
                </c:pt>
                <c:pt idx="4063">
                  <c:v>44.03</c:v>
                </c:pt>
                <c:pt idx="4064">
                  <c:v>40.97999999999999</c:v>
                </c:pt>
                <c:pt idx="4065">
                  <c:v>38.24</c:v>
                </c:pt>
                <c:pt idx="4066">
                  <c:v>38.490000000000009</c:v>
                </c:pt>
                <c:pt idx="4067">
                  <c:v>34.96</c:v>
                </c:pt>
                <c:pt idx="4068">
                  <c:v>35.059999999999995</c:v>
                </c:pt>
                <c:pt idx="4069">
                  <c:v>35.879999999999995</c:v>
                </c:pt>
                <c:pt idx="4070">
                  <c:v>38.33</c:v>
                </c:pt>
                <c:pt idx="4071">
                  <c:v>39.51</c:v>
                </c:pt>
                <c:pt idx="4072">
                  <c:v>42.1</c:v>
                </c:pt>
                <c:pt idx="4073">
                  <c:v>45.6</c:v>
                </c:pt>
                <c:pt idx="4074">
                  <c:v>49.99</c:v>
                </c:pt>
                <c:pt idx="4075">
                  <c:v>45.4</c:v>
                </c:pt>
                <c:pt idx="4076">
                  <c:v>44.13</c:v>
                </c:pt>
                <c:pt idx="4077">
                  <c:v>43.68</c:v>
                </c:pt>
                <c:pt idx="4078">
                  <c:v>36.659999999999997</c:v>
                </c:pt>
                <c:pt idx="4079">
                  <c:v>24.350000000000005</c:v>
                </c:pt>
                <c:pt idx="4080">
                  <c:v>23.71</c:v>
                </c:pt>
                <c:pt idx="4081">
                  <c:v>23.01</c:v>
                </c:pt>
                <c:pt idx="4082">
                  <c:v>22.63</c:v>
                </c:pt>
                <c:pt idx="4083">
                  <c:v>22.810000000000002</c:v>
                </c:pt>
                <c:pt idx="4084">
                  <c:v>23.64</c:v>
                </c:pt>
                <c:pt idx="4085">
                  <c:v>27.748521592207922</c:v>
                </c:pt>
                <c:pt idx="4086">
                  <c:v>32.500515100671137</c:v>
                </c:pt>
                <c:pt idx="4087">
                  <c:v>34.557712006079029</c:v>
                </c:pt>
                <c:pt idx="4088">
                  <c:v>32.179464462084347</c:v>
                </c:pt>
                <c:pt idx="4089">
                  <c:v>31.952918236692877</c:v>
                </c:pt>
                <c:pt idx="4090">
                  <c:v>29.385505894450766</c:v>
                </c:pt>
                <c:pt idx="4091">
                  <c:v>27.331521363117798</c:v>
                </c:pt>
                <c:pt idx="4092">
                  <c:v>26.815535720791289</c:v>
                </c:pt>
                <c:pt idx="4093">
                  <c:v>26.099423314478905</c:v>
                </c:pt>
                <c:pt idx="4094">
                  <c:v>25.591254034117107</c:v>
                </c:pt>
                <c:pt idx="4095">
                  <c:v>25.340872251499185</c:v>
                </c:pt>
                <c:pt idx="4096">
                  <c:v>26.347120353982302</c:v>
                </c:pt>
                <c:pt idx="4097">
                  <c:v>26.6454159741055</c:v>
                </c:pt>
                <c:pt idx="4098">
                  <c:v>27.229060966198489</c:v>
                </c:pt>
                <c:pt idx="4099">
                  <c:v>26.792892353065092</c:v>
                </c:pt>
                <c:pt idx="4100">
                  <c:v>26.266782965623392</c:v>
                </c:pt>
                <c:pt idx="4101">
                  <c:v>25.772152692052043</c:v>
                </c:pt>
                <c:pt idx="4102">
                  <c:v>24.07155815301391</c:v>
                </c:pt>
                <c:pt idx="4103">
                  <c:v>23.96</c:v>
                </c:pt>
                <c:pt idx="4104">
                  <c:v>23.25</c:v>
                </c:pt>
                <c:pt idx="4105">
                  <c:v>23.04</c:v>
                </c:pt>
                <c:pt idx="4106">
                  <c:v>22.92</c:v>
                </c:pt>
                <c:pt idx="4107">
                  <c:v>22.91</c:v>
                </c:pt>
                <c:pt idx="4108">
                  <c:v>24.17</c:v>
                </c:pt>
                <c:pt idx="4109">
                  <c:v>38.409999999999997</c:v>
                </c:pt>
                <c:pt idx="4110">
                  <c:v>44.02</c:v>
                </c:pt>
                <c:pt idx="4111">
                  <c:v>44.650000000000006</c:v>
                </c:pt>
                <c:pt idx="4112">
                  <c:v>43.239999999999995</c:v>
                </c:pt>
                <c:pt idx="4113">
                  <c:v>40.059999999999995</c:v>
                </c:pt>
                <c:pt idx="4114">
                  <c:v>39.54</c:v>
                </c:pt>
                <c:pt idx="4115">
                  <c:v>37.64</c:v>
                </c:pt>
                <c:pt idx="4116">
                  <c:v>36.090000000000003</c:v>
                </c:pt>
                <c:pt idx="4117">
                  <c:v>33.65</c:v>
                </c:pt>
                <c:pt idx="4118">
                  <c:v>34.69</c:v>
                </c:pt>
                <c:pt idx="4119">
                  <c:v>38.20000000000001</c:v>
                </c:pt>
                <c:pt idx="4120">
                  <c:v>45.64</c:v>
                </c:pt>
                <c:pt idx="4121">
                  <c:v>50.939999999999991</c:v>
                </c:pt>
                <c:pt idx="4122">
                  <c:v>56.949999999999996</c:v>
                </c:pt>
                <c:pt idx="4123">
                  <c:v>51.03</c:v>
                </c:pt>
                <c:pt idx="4124">
                  <c:v>45.44</c:v>
                </c:pt>
                <c:pt idx="4125">
                  <c:v>44.04999999999999</c:v>
                </c:pt>
                <c:pt idx="4126">
                  <c:v>36.68</c:v>
                </c:pt>
                <c:pt idx="4127">
                  <c:v>35.94</c:v>
                </c:pt>
                <c:pt idx="4128">
                  <c:v>34.449999999999996</c:v>
                </c:pt>
                <c:pt idx="4129">
                  <c:v>32.04</c:v>
                </c:pt>
                <c:pt idx="4130">
                  <c:v>30.96</c:v>
                </c:pt>
                <c:pt idx="4131">
                  <c:v>29.199999999999996</c:v>
                </c:pt>
                <c:pt idx="4132">
                  <c:v>30.199999999999996</c:v>
                </c:pt>
                <c:pt idx="4133">
                  <c:v>36.460000000000008</c:v>
                </c:pt>
                <c:pt idx="4134">
                  <c:v>42.39</c:v>
                </c:pt>
                <c:pt idx="4135">
                  <c:v>44.79999999999999</c:v>
                </c:pt>
                <c:pt idx="4136">
                  <c:v>40.880000000000003</c:v>
                </c:pt>
                <c:pt idx="4137">
                  <c:v>38.909999999999997</c:v>
                </c:pt>
                <c:pt idx="4138">
                  <c:v>37.15</c:v>
                </c:pt>
                <c:pt idx="4139">
                  <c:v>34.96</c:v>
                </c:pt>
                <c:pt idx="4140">
                  <c:v>31.71</c:v>
                </c:pt>
                <c:pt idx="4141">
                  <c:v>30.294218520333171</c:v>
                </c:pt>
                <c:pt idx="4142">
                  <c:v>30.369999999999997</c:v>
                </c:pt>
                <c:pt idx="4143">
                  <c:v>30.170000000000005</c:v>
                </c:pt>
                <c:pt idx="4144">
                  <c:v>37.43</c:v>
                </c:pt>
                <c:pt idx="4145">
                  <c:v>39.900000000000006</c:v>
                </c:pt>
                <c:pt idx="4146">
                  <c:v>41.910000000000004</c:v>
                </c:pt>
                <c:pt idx="4147">
                  <c:v>38.99</c:v>
                </c:pt>
                <c:pt idx="4148">
                  <c:v>37.560000000000009</c:v>
                </c:pt>
                <c:pt idx="4149">
                  <c:v>36.07</c:v>
                </c:pt>
                <c:pt idx="4150">
                  <c:v>30.95</c:v>
                </c:pt>
                <c:pt idx="4151">
                  <c:v>25.329999999999995</c:v>
                </c:pt>
                <c:pt idx="4152">
                  <c:v>23.55</c:v>
                </c:pt>
                <c:pt idx="4153">
                  <c:v>22.43</c:v>
                </c:pt>
                <c:pt idx="4154">
                  <c:v>21.41</c:v>
                </c:pt>
                <c:pt idx="4155">
                  <c:v>21.59</c:v>
                </c:pt>
                <c:pt idx="4156">
                  <c:v>23.340000000000003</c:v>
                </c:pt>
                <c:pt idx="4157">
                  <c:v>26.859999999999996</c:v>
                </c:pt>
                <c:pt idx="4158">
                  <c:v>36.260000000000005</c:v>
                </c:pt>
                <c:pt idx="4159">
                  <c:v>38.28</c:v>
                </c:pt>
                <c:pt idx="4160">
                  <c:v>34.089999999999996</c:v>
                </c:pt>
                <c:pt idx="4161">
                  <c:v>30.449999999999996</c:v>
                </c:pt>
                <c:pt idx="4162">
                  <c:v>29.050000000000004</c:v>
                </c:pt>
                <c:pt idx="4163">
                  <c:v>27.769999999999992</c:v>
                </c:pt>
                <c:pt idx="4164">
                  <c:v>26.1</c:v>
                </c:pt>
                <c:pt idx="4165">
                  <c:v>25.07</c:v>
                </c:pt>
                <c:pt idx="4166">
                  <c:v>24.980000000000004</c:v>
                </c:pt>
                <c:pt idx="4167">
                  <c:v>25.01</c:v>
                </c:pt>
                <c:pt idx="4168">
                  <c:v>27.679999999999996</c:v>
                </c:pt>
                <c:pt idx="4169">
                  <c:v>27.66</c:v>
                </c:pt>
                <c:pt idx="4170">
                  <c:v>27.55</c:v>
                </c:pt>
                <c:pt idx="4171">
                  <c:v>25.25</c:v>
                </c:pt>
                <c:pt idx="4172">
                  <c:v>25.159999999999997</c:v>
                </c:pt>
                <c:pt idx="4173">
                  <c:v>25.61</c:v>
                </c:pt>
                <c:pt idx="4174">
                  <c:v>25.16</c:v>
                </c:pt>
                <c:pt idx="4175">
                  <c:v>25.120000000000005</c:v>
                </c:pt>
                <c:pt idx="4176">
                  <c:v>23.78</c:v>
                </c:pt>
                <c:pt idx="4177">
                  <c:v>23.24</c:v>
                </c:pt>
                <c:pt idx="4178">
                  <c:v>22.280000000000005</c:v>
                </c:pt>
                <c:pt idx="4179">
                  <c:v>20.28</c:v>
                </c:pt>
                <c:pt idx="4180">
                  <c:v>19.989999999999998</c:v>
                </c:pt>
                <c:pt idx="4181">
                  <c:v>22.090000000000003</c:v>
                </c:pt>
                <c:pt idx="4182">
                  <c:v>23.749999999999996</c:v>
                </c:pt>
                <c:pt idx="4183">
                  <c:v>24.03</c:v>
                </c:pt>
                <c:pt idx="4184">
                  <c:v>24.510771020272514</c:v>
                </c:pt>
                <c:pt idx="4185">
                  <c:v>22.251039521079601</c:v>
                </c:pt>
                <c:pt idx="4186">
                  <c:v>22.370000000000005</c:v>
                </c:pt>
                <c:pt idx="4187">
                  <c:v>22.139999999999997</c:v>
                </c:pt>
                <c:pt idx="4188">
                  <c:v>21.420000000000005</c:v>
                </c:pt>
                <c:pt idx="4189">
                  <c:v>20.6</c:v>
                </c:pt>
                <c:pt idx="4190">
                  <c:v>19.68</c:v>
                </c:pt>
                <c:pt idx="4191">
                  <c:v>15.977572158997194</c:v>
                </c:pt>
                <c:pt idx="4192">
                  <c:v>20.691467547873241</c:v>
                </c:pt>
                <c:pt idx="4193">
                  <c:v>29.18793427230047</c:v>
                </c:pt>
                <c:pt idx="4194">
                  <c:v>23.78</c:v>
                </c:pt>
                <c:pt idx="4195">
                  <c:v>23.690000000000005</c:v>
                </c:pt>
                <c:pt idx="4196">
                  <c:v>23.74</c:v>
                </c:pt>
                <c:pt idx="4197">
                  <c:v>23.87</c:v>
                </c:pt>
                <c:pt idx="4198">
                  <c:v>23.49</c:v>
                </c:pt>
                <c:pt idx="4199">
                  <c:v>23.949999999999996</c:v>
                </c:pt>
                <c:pt idx="4200">
                  <c:v>23.03</c:v>
                </c:pt>
                <c:pt idx="4201">
                  <c:v>20.79</c:v>
                </c:pt>
                <c:pt idx="4202">
                  <c:v>18.25</c:v>
                </c:pt>
                <c:pt idx="4203">
                  <c:v>14.449999999999998</c:v>
                </c:pt>
                <c:pt idx="4204">
                  <c:v>10.25</c:v>
                </c:pt>
                <c:pt idx="4205">
                  <c:v>10.259999999999998</c:v>
                </c:pt>
                <c:pt idx="4206">
                  <c:v>17.690000000000001</c:v>
                </c:pt>
                <c:pt idx="4207">
                  <c:v>19.259999999999998</c:v>
                </c:pt>
                <c:pt idx="4208">
                  <c:v>21.22</c:v>
                </c:pt>
                <c:pt idx="4209">
                  <c:v>14.538200365836499</c:v>
                </c:pt>
                <c:pt idx="4210">
                  <c:v>14.957650320842907</c:v>
                </c:pt>
                <c:pt idx="4211">
                  <c:v>13.172228436930553</c:v>
                </c:pt>
                <c:pt idx="4212">
                  <c:v>9.9993449846889249</c:v>
                </c:pt>
                <c:pt idx="4213">
                  <c:v>4.6033807779030447</c:v>
                </c:pt>
                <c:pt idx="4214">
                  <c:v>6.7094557378579598</c:v>
                </c:pt>
                <c:pt idx="4215">
                  <c:v>10.647378859272804</c:v>
                </c:pt>
                <c:pt idx="4216">
                  <c:v>17.126075713206124</c:v>
                </c:pt>
                <c:pt idx="4217">
                  <c:v>21.689999999999998</c:v>
                </c:pt>
                <c:pt idx="4218">
                  <c:v>23.200000000000003</c:v>
                </c:pt>
                <c:pt idx="4219">
                  <c:v>23.2</c:v>
                </c:pt>
                <c:pt idx="4220">
                  <c:v>23.37</c:v>
                </c:pt>
                <c:pt idx="4221">
                  <c:v>23.2</c:v>
                </c:pt>
                <c:pt idx="4222">
                  <c:v>21.8</c:v>
                </c:pt>
                <c:pt idx="4223">
                  <c:v>21.86</c:v>
                </c:pt>
                <c:pt idx="4224">
                  <c:v>20.239999999999998</c:v>
                </c:pt>
                <c:pt idx="4225">
                  <c:v>17.399999999999999</c:v>
                </c:pt>
                <c:pt idx="4226">
                  <c:v>16.91</c:v>
                </c:pt>
                <c:pt idx="4227">
                  <c:v>16.95</c:v>
                </c:pt>
                <c:pt idx="4228">
                  <c:v>19.675521388427821</c:v>
                </c:pt>
                <c:pt idx="4229">
                  <c:v>26.520000000000003</c:v>
                </c:pt>
                <c:pt idx="4230">
                  <c:v>24.730828729281768</c:v>
                </c:pt>
                <c:pt idx="4231">
                  <c:v>26.211943381389258</c:v>
                </c:pt>
                <c:pt idx="4232">
                  <c:v>25.979504057709647</c:v>
                </c:pt>
                <c:pt idx="4233">
                  <c:v>24.748131342962999</c:v>
                </c:pt>
                <c:pt idx="4234">
                  <c:v>24.400604556309872</c:v>
                </c:pt>
                <c:pt idx="4235">
                  <c:v>24.139032687552643</c:v>
                </c:pt>
                <c:pt idx="4236">
                  <c:v>24.114109271344589</c:v>
                </c:pt>
                <c:pt idx="4237">
                  <c:v>23.925207490955529</c:v>
                </c:pt>
                <c:pt idx="4238">
                  <c:v>24.053870108156119</c:v>
                </c:pt>
                <c:pt idx="4239">
                  <c:v>24.139299955226633</c:v>
                </c:pt>
                <c:pt idx="4240">
                  <c:v>24.361741834334993</c:v>
                </c:pt>
                <c:pt idx="4241">
                  <c:v>26.71</c:v>
                </c:pt>
                <c:pt idx="4242">
                  <c:v>26.710000000000004</c:v>
                </c:pt>
                <c:pt idx="4243">
                  <c:v>26.01</c:v>
                </c:pt>
                <c:pt idx="4244">
                  <c:v>26.370000000000005</c:v>
                </c:pt>
                <c:pt idx="4245">
                  <c:v>25.859999999999996</c:v>
                </c:pt>
                <c:pt idx="4246">
                  <c:v>23.29</c:v>
                </c:pt>
                <c:pt idx="4247">
                  <c:v>23.21</c:v>
                </c:pt>
                <c:pt idx="4248">
                  <c:v>22.9</c:v>
                </c:pt>
                <c:pt idx="4249">
                  <c:v>22.589999999999996</c:v>
                </c:pt>
                <c:pt idx="4250">
                  <c:v>22.5</c:v>
                </c:pt>
                <c:pt idx="4251">
                  <c:v>22.51</c:v>
                </c:pt>
                <c:pt idx="4252">
                  <c:v>28.7</c:v>
                </c:pt>
                <c:pt idx="4253">
                  <c:v>37.94</c:v>
                </c:pt>
                <c:pt idx="4254">
                  <c:v>43.55</c:v>
                </c:pt>
                <c:pt idx="4255">
                  <c:v>46.66</c:v>
                </c:pt>
                <c:pt idx="4256">
                  <c:v>46.300000000000004</c:v>
                </c:pt>
                <c:pt idx="4257">
                  <c:v>46.69</c:v>
                </c:pt>
                <c:pt idx="4258">
                  <c:v>48.04</c:v>
                </c:pt>
                <c:pt idx="4259">
                  <c:v>45.949999999999996</c:v>
                </c:pt>
                <c:pt idx="4260">
                  <c:v>44.45</c:v>
                </c:pt>
                <c:pt idx="4261">
                  <c:v>44.099999999999994</c:v>
                </c:pt>
                <c:pt idx="4262">
                  <c:v>40.149999999999991</c:v>
                </c:pt>
                <c:pt idx="4263">
                  <c:v>42.53</c:v>
                </c:pt>
                <c:pt idx="4264">
                  <c:v>42.6</c:v>
                </c:pt>
                <c:pt idx="4265">
                  <c:v>43.93</c:v>
                </c:pt>
                <c:pt idx="4266">
                  <c:v>43.95000000000001</c:v>
                </c:pt>
                <c:pt idx="4267">
                  <c:v>40.239999999999995</c:v>
                </c:pt>
                <c:pt idx="4268">
                  <c:v>37.980000000000004</c:v>
                </c:pt>
                <c:pt idx="4269">
                  <c:v>32.619999999999997</c:v>
                </c:pt>
                <c:pt idx="4270">
                  <c:v>27.3</c:v>
                </c:pt>
                <c:pt idx="4271">
                  <c:v>28.769999999999996</c:v>
                </c:pt>
                <c:pt idx="4272">
                  <c:v>27.35</c:v>
                </c:pt>
                <c:pt idx="4273">
                  <c:v>26.019999999999996</c:v>
                </c:pt>
                <c:pt idx="4274">
                  <c:v>25.4</c:v>
                </c:pt>
                <c:pt idx="4275">
                  <c:v>25.339999999999996</c:v>
                </c:pt>
                <c:pt idx="4276">
                  <c:v>27.96</c:v>
                </c:pt>
                <c:pt idx="4277">
                  <c:v>32.76</c:v>
                </c:pt>
                <c:pt idx="4278">
                  <c:v>38.64</c:v>
                </c:pt>
                <c:pt idx="4279">
                  <c:v>41.51</c:v>
                </c:pt>
                <c:pt idx="4280">
                  <c:v>41.989999999999995</c:v>
                </c:pt>
                <c:pt idx="4281">
                  <c:v>41.95</c:v>
                </c:pt>
                <c:pt idx="4282">
                  <c:v>42.70000000000001</c:v>
                </c:pt>
                <c:pt idx="4283">
                  <c:v>42.147838037787395</c:v>
                </c:pt>
                <c:pt idx="4284">
                  <c:v>39.28795418484728</c:v>
                </c:pt>
                <c:pt idx="4285">
                  <c:v>36.570000000000007</c:v>
                </c:pt>
                <c:pt idx="4286">
                  <c:v>33.79</c:v>
                </c:pt>
                <c:pt idx="4287">
                  <c:v>34.9</c:v>
                </c:pt>
                <c:pt idx="4288">
                  <c:v>38.4</c:v>
                </c:pt>
                <c:pt idx="4289">
                  <c:v>38.97</c:v>
                </c:pt>
                <c:pt idx="4290">
                  <c:v>39.04</c:v>
                </c:pt>
                <c:pt idx="4291">
                  <c:v>33.32</c:v>
                </c:pt>
                <c:pt idx="4292">
                  <c:v>28.71</c:v>
                </c:pt>
                <c:pt idx="4293">
                  <c:v>24.811128664157202</c:v>
                </c:pt>
                <c:pt idx="4294">
                  <c:v>23.643755329429823</c:v>
                </c:pt>
                <c:pt idx="4295">
                  <c:v>22.230000000000004</c:v>
                </c:pt>
                <c:pt idx="4296">
                  <c:v>21.82</c:v>
                </c:pt>
                <c:pt idx="4297">
                  <c:v>21.769999999999996</c:v>
                </c:pt>
                <c:pt idx="4298">
                  <c:v>21.809999999999995</c:v>
                </c:pt>
                <c:pt idx="4299">
                  <c:v>21.859999999999996</c:v>
                </c:pt>
                <c:pt idx="4300">
                  <c:v>22.74</c:v>
                </c:pt>
                <c:pt idx="4301">
                  <c:v>31.500000000000004</c:v>
                </c:pt>
                <c:pt idx="4302">
                  <c:v>40.110000000000007</c:v>
                </c:pt>
                <c:pt idx="4303">
                  <c:v>45.829999999999991</c:v>
                </c:pt>
                <c:pt idx="4304">
                  <c:v>46.39</c:v>
                </c:pt>
                <c:pt idx="4305">
                  <c:v>46.389999999999993</c:v>
                </c:pt>
                <c:pt idx="4306">
                  <c:v>46.66</c:v>
                </c:pt>
                <c:pt idx="4307">
                  <c:v>44.89</c:v>
                </c:pt>
                <c:pt idx="4308">
                  <c:v>44.11</c:v>
                </c:pt>
                <c:pt idx="4309">
                  <c:v>41.71</c:v>
                </c:pt>
                <c:pt idx="4310">
                  <c:v>38.229999999999997</c:v>
                </c:pt>
                <c:pt idx="4311">
                  <c:v>37.309999999999995</c:v>
                </c:pt>
                <c:pt idx="4312">
                  <c:v>37.310000000000009</c:v>
                </c:pt>
                <c:pt idx="4313">
                  <c:v>38.090000000000003</c:v>
                </c:pt>
                <c:pt idx="4314">
                  <c:v>38.079999999999991</c:v>
                </c:pt>
                <c:pt idx="4315">
                  <c:v>33.139999999999993</c:v>
                </c:pt>
                <c:pt idx="4316">
                  <c:v>30.579999999999995</c:v>
                </c:pt>
                <c:pt idx="4317">
                  <c:v>28.5</c:v>
                </c:pt>
                <c:pt idx="4318">
                  <c:v>25.110000000000003</c:v>
                </c:pt>
                <c:pt idx="4319">
                  <c:v>24.21</c:v>
                </c:pt>
                <c:pt idx="4320">
                  <c:v>22.43</c:v>
                </c:pt>
                <c:pt idx="4321">
                  <c:v>21.969999999999995</c:v>
                </c:pt>
                <c:pt idx="4322">
                  <c:v>21.749999999999996</c:v>
                </c:pt>
                <c:pt idx="4323">
                  <c:v>21.830000000000002</c:v>
                </c:pt>
                <c:pt idx="4324">
                  <c:v>23.050000000000004</c:v>
                </c:pt>
                <c:pt idx="4325">
                  <c:v>27.910000000000004</c:v>
                </c:pt>
                <c:pt idx="4326">
                  <c:v>37.93</c:v>
                </c:pt>
                <c:pt idx="4327">
                  <c:v>38.340000000000003</c:v>
                </c:pt>
                <c:pt idx="4328">
                  <c:v>35.99</c:v>
                </c:pt>
                <c:pt idx="4329">
                  <c:v>35.51</c:v>
                </c:pt>
                <c:pt idx="4330">
                  <c:v>32.24</c:v>
                </c:pt>
                <c:pt idx="4331">
                  <c:v>29.329999999999995</c:v>
                </c:pt>
                <c:pt idx="4332">
                  <c:v>27.29</c:v>
                </c:pt>
                <c:pt idx="4333">
                  <c:v>25.079999999999995</c:v>
                </c:pt>
                <c:pt idx="4334">
                  <c:v>25.089999999999996</c:v>
                </c:pt>
                <c:pt idx="4335">
                  <c:v>26.63</c:v>
                </c:pt>
                <c:pt idx="4336">
                  <c:v>29.61</c:v>
                </c:pt>
                <c:pt idx="4337">
                  <c:v>32.659999999999997</c:v>
                </c:pt>
                <c:pt idx="4338">
                  <c:v>30.42</c:v>
                </c:pt>
                <c:pt idx="4339">
                  <c:v>26.43</c:v>
                </c:pt>
                <c:pt idx="4340">
                  <c:v>25.569999999999997</c:v>
                </c:pt>
                <c:pt idx="4341">
                  <c:v>25.389999999999997</c:v>
                </c:pt>
                <c:pt idx="4342">
                  <c:v>23.760000000000005</c:v>
                </c:pt>
                <c:pt idx="4343">
                  <c:v>27.160000000000004</c:v>
                </c:pt>
                <c:pt idx="4344">
                  <c:v>23.809999999999995</c:v>
                </c:pt>
                <c:pt idx="4345">
                  <c:v>23.47</c:v>
                </c:pt>
                <c:pt idx="4346">
                  <c:v>23.34</c:v>
                </c:pt>
                <c:pt idx="4347">
                  <c:v>23.26</c:v>
                </c:pt>
                <c:pt idx="4348">
                  <c:v>23.459999999999997</c:v>
                </c:pt>
                <c:pt idx="4349">
                  <c:v>24.95</c:v>
                </c:pt>
                <c:pt idx="4350">
                  <c:v>26.769999999999996</c:v>
                </c:pt>
                <c:pt idx="4351">
                  <c:v>28.820000000000004</c:v>
                </c:pt>
                <c:pt idx="4352">
                  <c:v>31.620000000000005</c:v>
                </c:pt>
                <c:pt idx="4353">
                  <c:v>32.54</c:v>
                </c:pt>
                <c:pt idx="4354">
                  <c:v>32.36</c:v>
                </c:pt>
                <c:pt idx="4355">
                  <c:v>29.100000000000005</c:v>
                </c:pt>
                <c:pt idx="4356">
                  <c:v>26.070000000000004</c:v>
                </c:pt>
                <c:pt idx="4357">
                  <c:v>26.330000000000002</c:v>
                </c:pt>
                <c:pt idx="4358">
                  <c:v>26.04</c:v>
                </c:pt>
                <c:pt idx="4359">
                  <c:v>26.09</c:v>
                </c:pt>
                <c:pt idx="4360">
                  <c:v>29.01</c:v>
                </c:pt>
                <c:pt idx="4361">
                  <c:v>29.340000000000003</c:v>
                </c:pt>
                <c:pt idx="4362">
                  <c:v>29.179999999999996</c:v>
                </c:pt>
                <c:pt idx="4363">
                  <c:v>29.390000000000004</c:v>
                </c:pt>
                <c:pt idx="4364">
                  <c:v>28.909999999999997</c:v>
                </c:pt>
                <c:pt idx="4365">
                  <c:v>28.060000000000002</c:v>
                </c:pt>
                <c:pt idx="4366">
                  <c:v>25.63</c:v>
                </c:pt>
                <c:pt idx="4367">
                  <c:v>24.359999999999996</c:v>
                </c:pt>
                <c:pt idx="4368">
                  <c:v>23.12</c:v>
                </c:pt>
                <c:pt idx="4369">
                  <c:v>22.73</c:v>
                </c:pt>
                <c:pt idx="4370">
                  <c:v>22.630000000000003</c:v>
                </c:pt>
                <c:pt idx="4371">
                  <c:v>20.27</c:v>
                </c:pt>
                <c:pt idx="4372">
                  <c:v>20.590000000000003</c:v>
                </c:pt>
                <c:pt idx="4373">
                  <c:v>21.3</c:v>
                </c:pt>
                <c:pt idx="4374">
                  <c:v>23.070000000000004</c:v>
                </c:pt>
                <c:pt idx="4375">
                  <c:v>24.76</c:v>
                </c:pt>
                <c:pt idx="4376">
                  <c:v>25.633821845877286</c:v>
                </c:pt>
                <c:pt idx="4377">
                  <c:v>21.376248025580772</c:v>
                </c:pt>
                <c:pt idx="4378">
                  <c:v>23.666374367622257</c:v>
                </c:pt>
                <c:pt idx="4379">
                  <c:v>21.820689825384093</c:v>
                </c:pt>
                <c:pt idx="4380">
                  <c:v>19.707466507040646</c:v>
                </c:pt>
                <c:pt idx="4381">
                  <c:v>12.503409512367123</c:v>
                </c:pt>
                <c:pt idx="4382">
                  <c:v>12.296398532458134</c:v>
                </c:pt>
                <c:pt idx="4383">
                  <c:v>18.275451160753395</c:v>
                </c:pt>
                <c:pt idx="4384">
                  <c:v>20.251239972221562</c:v>
                </c:pt>
                <c:pt idx="4385">
                  <c:v>25.99</c:v>
                </c:pt>
                <c:pt idx="4386">
                  <c:v>24.120084582282239</c:v>
                </c:pt>
                <c:pt idx="4387">
                  <c:v>24.133082995741145</c:v>
                </c:pt>
                <c:pt idx="4388">
                  <c:v>24.249999999999996</c:v>
                </c:pt>
                <c:pt idx="4389">
                  <c:v>24.750000000000004</c:v>
                </c:pt>
                <c:pt idx="4390">
                  <c:v>25.86</c:v>
                </c:pt>
                <c:pt idx="4391">
                  <c:v>-2.4901393845532276</c:v>
                </c:pt>
                <c:pt idx="4392">
                  <c:v>5.4096282766883892</c:v>
                </c:pt>
                <c:pt idx="4393">
                  <c:v>22.31</c:v>
                </c:pt>
                <c:pt idx="4394">
                  <c:v>22.29</c:v>
                </c:pt>
                <c:pt idx="4395">
                  <c:v>22.65</c:v>
                </c:pt>
                <c:pt idx="4396">
                  <c:v>23.19</c:v>
                </c:pt>
                <c:pt idx="4397">
                  <c:v>23.85</c:v>
                </c:pt>
                <c:pt idx="4398">
                  <c:v>26.440000000000005</c:v>
                </c:pt>
                <c:pt idx="4399">
                  <c:v>28.429999999999996</c:v>
                </c:pt>
                <c:pt idx="4400">
                  <c:v>28.280000000000005</c:v>
                </c:pt>
                <c:pt idx="4401">
                  <c:v>28.94</c:v>
                </c:pt>
                <c:pt idx="4402">
                  <c:v>25.931308490968568</c:v>
                </c:pt>
                <c:pt idx="4403">
                  <c:v>25.739902694610773</c:v>
                </c:pt>
                <c:pt idx="4404">
                  <c:v>25.642863835799812</c:v>
                </c:pt>
                <c:pt idx="4405">
                  <c:v>25.359614963902864</c:v>
                </c:pt>
                <c:pt idx="4406">
                  <c:v>25.304730426843186</c:v>
                </c:pt>
                <c:pt idx="4407">
                  <c:v>25.33421823334908</c:v>
                </c:pt>
                <c:pt idx="4408">
                  <c:v>28.03</c:v>
                </c:pt>
                <c:pt idx="4409">
                  <c:v>27.92</c:v>
                </c:pt>
                <c:pt idx="4410">
                  <c:v>24.908381330685202</c:v>
                </c:pt>
                <c:pt idx="4411">
                  <c:v>24.732008799937699</c:v>
                </c:pt>
                <c:pt idx="4412">
                  <c:v>24.456156626506026</c:v>
                </c:pt>
                <c:pt idx="4413">
                  <c:v>24.587372276920693</c:v>
                </c:pt>
                <c:pt idx="4414">
                  <c:v>24.295438615546143</c:v>
                </c:pt>
                <c:pt idx="4415">
                  <c:v>24.887682394291197</c:v>
                </c:pt>
                <c:pt idx="4416">
                  <c:v>23.854368271557316</c:v>
                </c:pt>
                <c:pt idx="4417">
                  <c:v>23.300000000000004</c:v>
                </c:pt>
                <c:pt idx="4418">
                  <c:v>23.200000000000003</c:v>
                </c:pt>
                <c:pt idx="4419">
                  <c:v>23.07</c:v>
                </c:pt>
                <c:pt idx="4420">
                  <c:v>23.190000000000005</c:v>
                </c:pt>
                <c:pt idx="4421">
                  <c:v>25.68</c:v>
                </c:pt>
                <c:pt idx="4422">
                  <c:v>30.2</c:v>
                </c:pt>
                <c:pt idx="4423">
                  <c:v>32.76</c:v>
                </c:pt>
                <c:pt idx="4424">
                  <c:v>35.130000000000003</c:v>
                </c:pt>
                <c:pt idx="4425">
                  <c:v>34.74</c:v>
                </c:pt>
                <c:pt idx="4426">
                  <c:v>32.97</c:v>
                </c:pt>
                <c:pt idx="4427">
                  <c:v>31.93</c:v>
                </c:pt>
                <c:pt idx="4428">
                  <c:v>31.93</c:v>
                </c:pt>
                <c:pt idx="4429">
                  <c:v>30.55</c:v>
                </c:pt>
                <c:pt idx="4430">
                  <c:v>31.82</c:v>
                </c:pt>
                <c:pt idx="4431">
                  <c:v>32.14</c:v>
                </c:pt>
                <c:pt idx="4432">
                  <c:v>36.07</c:v>
                </c:pt>
                <c:pt idx="4433">
                  <c:v>39.04</c:v>
                </c:pt>
                <c:pt idx="4434">
                  <c:v>40.04</c:v>
                </c:pt>
                <c:pt idx="4435">
                  <c:v>40.22</c:v>
                </c:pt>
                <c:pt idx="4436">
                  <c:v>39.39</c:v>
                </c:pt>
                <c:pt idx="4437">
                  <c:v>36.69</c:v>
                </c:pt>
                <c:pt idx="4438">
                  <c:v>32.99</c:v>
                </c:pt>
                <c:pt idx="4439">
                  <c:v>31.949999999999996</c:v>
                </c:pt>
                <c:pt idx="4440">
                  <c:v>31.149999999999995</c:v>
                </c:pt>
                <c:pt idx="4441">
                  <c:v>29.040000000000003</c:v>
                </c:pt>
                <c:pt idx="4442">
                  <c:v>27.63</c:v>
                </c:pt>
                <c:pt idx="4443">
                  <c:v>27.300000000000004</c:v>
                </c:pt>
                <c:pt idx="4444">
                  <c:v>31.119999999999997</c:v>
                </c:pt>
                <c:pt idx="4445">
                  <c:v>38.020000000000003</c:v>
                </c:pt>
                <c:pt idx="4446">
                  <c:v>43.92</c:v>
                </c:pt>
                <c:pt idx="4447">
                  <c:v>46.01</c:v>
                </c:pt>
                <c:pt idx="4448">
                  <c:v>44.18</c:v>
                </c:pt>
                <c:pt idx="4449">
                  <c:v>43.71</c:v>
                </c:pt>
                <c:pt idx="4450">
                  <c:v>42.06</c:v>
                </c:pt>
                <c:pt idx="4451">
                  <c:v>38.930000000000007</c:v>
                </c:pt>
                <c:pt idx="4452">
                  <c:v>38.090000000000003</c:v>
                </c:pt>
                <c:pt idx="4453">
                  <c:v>37.440000000000005</c:v>
                </c:pt>
                <c:pt idx="4454">
                  <c:v>37.380000000000003</c:v>
                </c:pt>
                <c:pt idx="4455">
                  <c:v>38.9</c:v>
                </c:pt>
                <c:pt idx="4456">
                  <c:v>41.51</c:v>
                </c:pt>
                <c:pt idx="4457">
                  <c:v>41.5</c:v>
                </c:pt>
                <c:pt idx="4458">
                  <c:v>43.48</c:v>
                </c:pt>
                <c:pt idx="4459">
                  <c:v>43.089999999999996</c:v>
                </c:pt>
                <c:pt idx="4460">
                  <c:v>42.86999999999999</c:v>
                </c:pt>
                <c:pt idx="4461">
                  <c:v>40.659999999999997</c:v>
                </c:pt>
                <c:pt idx="4462">
                  <c:v>35.47</c:v>
                </c:pt>
                <c:pt idx="4463">
                  <c:v>33.03</c:v>
                </c:pt>
                <c:pt idx="4464">
                  <c:v>32.21</c:v>
                </c:pt>
                <c:pt idx="4465">
                  <c:v>30.52451139742319</c:v>
                </c:pt>
                <c:pt idx="4466">
                  <c:v>30.109999999999996</c:v>
                </c:pt>
                <c:pt idx="4467">
                  <c:v>29.189999999999998</c:v>
                </c:pt>
                <c:pt idx="4468">
                  <c:v>32.06</c:v>
                </c:pt>
                <c:pt idx="4469">
                  <c:v>36.94</c:v>
                </c:pt>
                <c:pt idx="4470">
                  <c:v>42.289999999999992</c:v>
                </c:pt>
                <c:pt idx="4471">
                  <c:v>48.24</c:v>
                </c:pt>
                <c:pt idx="4472">
                  <c:v>43.08</c:v>
                </c:pt>
                <c:pt idx="4473">
                  <c:v>41.86</c:v>
                </c:pt>
                <c:pt idx="4474">
                  <c:v>40.03</c:v>
                </c:pt>
                <c:pt idx="4475">
                  <c:v>35.753354838709676</c:v>
                </c:pt>
                <c:pt idx="4476">
                  <c:v>35.804921985815604</c:v>
                </c:pt>
                <c:pt idx="4477">
                  <c:v>35.580605623648154</c:v>
                </c:pt>
                <c:pt idx="4478">
                  <c:v>39.519999999999996</c:v>
                </c:pt>
                <c:pt idx="4479">
                  <c:v>40.6</c:v>
                </c:pt>
                <c:pt idx="4480">
                  <c:v>44.31</c:v>
                </c:pt>
                <c:pt idx="4481">
                  <c:v>45.870000000000005</c:v>
                </c:pt>
                <c:pt idx="4482">
                  <c:v>53.710000000000008</c:v>
                </c:pt>
                <c:pt idx="4483">
                  <c:v>49.56</c:v>
                </c:pt>
                <c:pt idx="4484">
                  <c:v>46.03</c:v>
                </c:pt>
                <c:pt idx="4485">
                  <c:v>42.710000000000008</c:v>
                </c:pt>
                <c:pt idx="4486">
                  <c:v>35.61</c:v>
                </c:pt>
                <c:pt idx="4487">
                  <c:v>34.159999999999989</c:v>
                </c:pt>
                <c:pt idx="4488">
                  <c:v>32.070000000000007</c:v>
                </c:pt>
                <c:pt idx="4489">
                  <c:v>30.8</c:v>
                </c:pt>
                <c:pt idx="4490">
                  <c:v>30.69</c:v>
                </c:pt>
                <c:pt idx="4491">
                  <c:v>29.64</c:v>
                </c:pt>
                <c:pt idx="4492">
                  <c:v>30.84</c:v>
                </c:pt>
                <c:pt idx="4493">
                  <c:v>35.869999999999997</c:v>
                </c:pt>
                <c:pt idx="4494">
                  <c:v>41.88</c:v>
                </c:pt>
                <c:pt idx="4495">
                  <c:v>45.54</c:v>
                </c:pt>
                <c:pt idx="4496">
                  <c:v>45.58</c:v>
                </c:pt>
                <c:pt idx="4497">
                  <c:v>44.61</c:v>
                </c:pt>
                <c:pt idx="4498">
                  <c:v>44.227142857142859</c:v>
                </c:pt>
                <c:pt idx="4499">
                  <c:v>40.052051282051281</c:v>
                </c:pt>
                <c:pt idx="4500">
                  <c:v>34.636315789473691</c:v>
                </c:pt>
                <c:pt idx="4501">
                  <c:v>32.169862068965514</c:v>
                </c:pt>
                <c:pt idx="4502">
                  <c:v>31.933659793814432</c:v>
                </c:pt>
                <c:pt idx="4503">
                  <c:v>32.399999999999991</c:v>
                </c:pt>
                <c:pt idx="4504">
                  <c:v>37.869999999999997</c:v>
                </c:pt>
                <c:pt idx="4505">
                  <c:v>40.58</c:v>
                </c:pt>
                <c:pt idx="4506">
                  <c:v>42.740000000000009</c:v>
                </c:pt>
                <c:pt idx="4507">
                  <c:v>41.8</c:v>
                </c:pt>
                <c:pt idx="4508">
                  <c:v>40.46</c:v>
                </c:pt>
                <c:pt idx="4509">
                  <c:v>40.99</c:v>
                </c:pt>
                <c:pt idx="4510">
                  <c:v>35.909999999999997</c:v>
                </c:pt>
                <c:pt idx="4511">
                  <c:v>35.159999999999997</c:v>
                </c:pt>
                <c:pt idx="4512">
                  <c:v>33.65</c:v>
                </c:pt>
                <c:pt idx="4513">
                  <c:v>31.859999999999992</c:v>
                </c:pt>
                <c:pt idx="4514">
                  <c:v>30.680000000000003</c:v>
                </c:pt>
                <c:pt idx="4515">
                  <c:v>29.87</c:v>
                </c:pt>
                <c:pt idx="4516">
                  <c:v>29.09</c:v>
                </c:pt>
                <c:pt idx="4517">
                  <c:v>30</c:v>
                </c:pt>
                <c:pt idx="4518">
                  <c:v>32.020000000000003</c:v>
                </c:pt>
                <c:pt idx="4519">
                  <c:v>34.58</c:v>
                </c:pt>
                <c:pt idx="4520">
                  <c:v>36.709999999999994</c:v>
                </c:pt>
                <c:pt idx="4521">
                  <c:v>35.890000000000008</c:v>
                </c:pt>
                <c:pt idx="4522">
                  <c:v>35.369999999999997</c:v>
                </c:pt>
                <c:pt idx="4523">
                  <c:v>33.219999999999992</c:v>
                </c:pt>
                <c:pt idx="4524">
                  <c:v>27.979567732780264</c:v>
                </c:pt>
                <c:pt idx="4525">
                  <c:v>27.2782123916699</c:v>
                </c:pt>
                <c:pt idx="4526">
                  <c:v>27.060560156249998</c:v>
                </c:pt>
                <c:pt idx="4527">
                  <c:v>27.205879558576331</c:v>
                </c:pt>
                <c:pt idx="4528">
                  <c:v>27.671207870286022</c:v>
                </c:pt>
                <c:pt idx="4529">
                  <c:v>29.870652197155994</c:v>
                </c:pt>
                <c:pt idx="4530">
                  <c:v>32.030000000000008</c:v>
                </c:pt>
                <c:pt idx="4531">
                  <c:v>31.769999999999996</c:v>
                </c:pt>
                <c:pt idx="4532">
                  <c:v>31.850000000000005</c:v>
                </c:pt>
                <c:pt idx="4533">
                  <c:v>32.19</c:v>
                </c:pt>
                <c:pt idx="4534">
                  <c:v>30.95</c:v>
                </c:pt>
                <c:pt idx="4535">
                  <c:v>31.06</c:v>
                </c:pt>
                <c:pt idx="4536">
                  <c:v>30.33</c:v>
                </c:pt>
                <c:pt idx="4537">
                  <c:v>29.12</c:v>
                </c:pt>
                <c:pt idx="4538">
                  <c:v>28.5</c:v>
                </c:pt>
                <c:pt idx="4539">
                  <c:v>28.1</c:v>
                </c:pt>
                <c:pt idx="4540">
                  <c:v>28.760000000000005</c:v>
                </c:pt>
                <c:pt idx="4541">
                  <c:v>29.490000000000002</c:v>
                </c:pt>
                <c:pt idx="4542">
                  <c:v>29.83</c:v>
                </c:pt>
                <c:pt idx="4543">
                  <c:v>30.03</c:v>
                </c:pt>
                <c:pt idx="4544">
                  <c:v>31.26</c:v>
                </c:pt>
                <c:pt idx="4545">
                  <c:v>31.26</c:v>
                </c:pt>
                <c:pt idx="4546">
                  <c:v>32.4</c:v>
                </c:pt>
                <c:pt idx="4547">
                  <c:v>32.07</c:v>
                </c:pt>
                <c:pt idx="4548">
                  <c:v>31</c:v>
                </c:pt>
                <c:pt idx="4549">
                  <c:v>29.880000000000003</c:v>
                </c:pt>
                <c:pt idx="4550">
                  <c:v>30.689999999999998</c:v>
                </c:pt>
                <c:pt idx="4551">
                  <c:v>31.28</c:v>
                </c:pt>
                <c:pt idx="4552">
                  <c:v>33.79999999999999</c:v>
                </c:pt>
                <c:pt idx="4553">
                  <c:v>36.75</c:v>
                </c:pt>
                <c:pt idx="4554">
                  <c:v>40.529999999999994</c:v>
                </c:pt>
                <c:pt idx="4555">
                  <c:v>40.53</c:v>
                </c:pt>
                <c:pt idx="4556">
                  <c:v>40.590000000000003</c:v>
                </c:pt>
                <c:pt idx="4557">
                  <c:v>42.28</c:v>
                </c:pt>
                <c:pt idx="4558">
                  <c:v>40.08</c:v>
                </c:pt>
                <c:pt idx="4559">
                  <c:v>32.76</c:v>
                </c:pt>
                <c:pt idx="4560">
                  <c:v>29.919999999999998</c:v>
                </c:pt>
                <c:pt idx="4561">
                  <c:v>29.440000000000005</c:v>
                </c:pt>
                <c:pt idx="4562">
                  <c:v>29.590000000000003</c:v>
                </c:pt>
                <c:pt idx="4563">
                  <c:v>29.310000000000002</c:v>
                </c:pt>
                <c:pt idx="4564">
                  <c:v>30.6</c:v>
                </c:pt>
                <c:pt idx="4565">
                  <c:v>38.03</c:v>
                </c:pt>
                <c:pt idx="4566">
                  <c:v>44.030000000000008</c:v>
                </c:pt>
                <c:pt idx="4567">
                  <c:v>50.069999999999993</c:v>
                </c:pt>
                <c:pt idx="4568">
                  <c:v>50</c:v>
                </c:pt>
                <c:pt idx="4569">
                  <c:v>49.93</c:v>
                </c:pt>
                <c:pt idx="4570">
                  <c:v>49.92</c:v>
                </c:pt>
                <c:pt idx="4571">
                  <c:v>48.86</c:v>
                </c:pt>
                <c:pt idx="4572">
                  <c:v>47.800000000000004</c:v>
                </c:pt>
                <c:pt idx="4573">
                  <c:v>45.27</c:v>
                </c:pt>
                <c:pt idx="4574">
                  <c:v>43.99</c:v>
                </c:pt>
                <c:pt idx="4575">
                  <c:v>40.650000000000006</c:v>
                </c:pt>
                <c:pt idx="4576">
                  <c:v>40.950000000000003</c:v>
                </c:pt>
                <c:pt idx="4577">
                  <c:v>41.62</c:v>
                </c:pt>
                <c:pt idx="4578">
                  <c:v>42.97</c:v>
                </c:pt>
                <c:pt idx="4579">
                  <c:v>40.21</c:v>
                </c:pt>
                <c:pt idx="4580">
                  <c:v>38.860000000000007</c:v>
                </c:pt>
                <c:pt idx="4581">
                  <c:v>39.92</c:v>
                </c:pt>
                <c:pt idx="4582">
                  <c:v>33.450000000000003</c:v>
                </c:pt>
                <c:pt idx="4583">
                  <c:v>30.93</c:v>
                </c:pt>
                <c:pt idx="4584">
                  <c:v>30.279999999999998</c:v>
                </c:pt>
                <c:pt idx="4585">
                  <c:v>29.63</c:v>
                </c:pt>
                <c:pt idx="4586">
                  <c:v>28.96</c:v>
                </c:pt>
                <c:pt idx="4587">
                  <c:v>28.949999999999996</c:v>
                </c:pt>
                <c:pt idx="4588">
                  <c:v>30.079999999999995</c:v>
                </c:pt>
                <c:pt idx="4589">
                  <c:v>34.510000000000005</c:v>
                </c:pt>
                <c:pt idx="4590">
                  <c:v>41.44</c:v>
                </c:pt>
                <c:pt idx="4591">
                  <c:v>44.22</c:v>
                </c:pt>
                <c:pt idx="4592">
                  <c:v>43.43</c:v>
                </c:pt>
                <c:pt idx="4593">
                  <c:v>42.029999999999994</c:v>
                </c:pt>
                <c:pt idx="4594">
                  <c:v>41.45</c:v>
                </c:pt>
                <c:pt idx="4595">
                  <c:v>39.42</c:v>
                </c:pt>
                <c:pt idx="4596">
                  <c:v>36.01</c:v>
                </c:pt>
                <c:pt idx="4597">
                  <c:v>34.209999999999994</c:v>
                </c:pt>
                <c:pt idx="4598">
                  <c:v>34.419999999999995</c:v>
                </c:pt>
                <c:pt idx="4599">
                  <c:v>35.389999999999993</c:v>
                </c:pt>
                <c:pt idx="4600">
                  <c:v>37.619999999999997</c:v>
                </c:pt>
                <c:pt idx="4601">
                  <c:v>39.989999999999995</c:v>
                </c:pt>
                <c:pt idx="4602">
                  <c:v>41.2</c:v>
                </c:pt>
                <c:pt idx="4603">
                  <c:v>39.719999999999992</c:v>
                </c:pt>
                <c:pt idx="4604">
                  <c:v>38.68</c:v>
                </c:pt>
                <c:pt idx="4605">
                  <c:v>38.749999999999993</c:v>
                </c:pt>
                <c:pt idx="4606">
                  <c:v>33.78</c:v>
                </c:pt>
                <c:pt idx="4607">
                  <c:v>32.29</c:v>
                </c:pt>
                <c:pt idx="4608">
                  <c:v>30.14</c:v>
                </c:pt>
                <c:pt idx="4609">
                  <c:v>29.100000000000005</c:v>
                </c:pt>
                <c:pt idx="4610">
                  <c:v>28.519999999999996</c:v>
                </c:pt>
                <c:pt idx="4611">
                  <c:v>28.43</c:v>
                </c:pt>
                <c:pt idx="4612">
                  <c:v>29.3</c:v>
                </c:pt>
                <c:pt idx="4613">
                  <c:v>34.770000000000003</c:v>
                </c:pt>
                <c:pt idx="4614">
                  <c:v>39.940000000000005</c:v>
                </c:pt>
                <c:pt idx="4615">
                  <c:v>44.01</c:v>
                </c:pt>
                <c:pt idx="4616">
                  <c:v>44.309999999999995</c:v>
                </c:pt>
                <c:pt idx="4617">
                  <c:v>44.160000000000004</c:v>
                </c:pt>
                <c:pt idx="4618">
                  <c:v>43.900000000000006</c:v>
                </c:pt>
                <c:pt idx="4619">
                  <c:v>41.07</c:v>
                </c:pt>
                <c:pt idx="4620">
                  <c:v>39.9</c:v>
                </c:pt>
                <c:pt idx="4621">
                  <c:v>37.27000000000001</c:v>
                </c:pt>
                <c:pt idx="4622">
                  <c:v>33.929999999999993</c:v>
                </c:pt>
                <c:pt idx="4623">
                  <c:v>32.19</c:v>
                </c:pt>
                <c:pt idx="4624">
                  <c:v>33.29</c:v>
                </c:pt>
                <c:pt idx="4625">
                  <c:v>32.950000000000003</c:v>
                </c:pt>
                <c:pt idx="4626">
                  <c:v>32.82</c:v>
                </c:pt>
                <c:pt idx="4627">
                  <c:v>30.499999999999996</c:v>
                </c:pt>
                <c:pt idx="4628">
                  <c:v>27.194377679285044</c:v>
                </c:pt>
                <c:pt idx="4629">
                  <c:v>27.228605974395453</c:v>
                </c:pt>
                <c:pt idx="4630">
                  <c:v>26.776294484263005</c:v>
                </c:pt>
                <c:pt idx="4631">
                  <c:v>26.026490322181683</c:v>
                </c:pt>
                <c:pt idx="4632">
                  <c:v>24.37</c:v>
                </c:pt>
                <c:pt idx="4633">
                  <c:v>23.04</c:v>
                </c:pt>
                <c:pt idx="4634">
                  <c:v>24.759999999999998</c:v>
                </c:pt>
                <c:pt idx="4635">
                  <c:v>25.079999999999995</c:v>
                </c:pt>
                <c:pt idx="4636">
                  <c:v>26.039999999999996</c:v>
                </c:pt>
                <c:pt idx="4637">
                  <c:v>26.920060968595422</c:v>
                </c:pt>
                <c:pt idx="4638">
                  <c:v>30.169999999999998</c:v>
                </c:pt>
                <c:pt idx="4639">
                  <c:v>34.85</c:v>
                </c:pt>
                <c:pt idx="4640">
                  <c:v>35.08</c:v>
                </c:pt>
                <c:pt idx="4641">
                  <c:v>35.519999999999996</c:v>
                </c:pt>
                <c:pt idx="4642">
                  <c:v>34.96</c:v>
                </c:pt>
                <c:pt idx="4643">
                  <c:v>30.260000000000005</c:v>
                </c:pt>
                <c:pt idx="4644">
                  <c:v>30.04</c:v>
                </c:pt>
                <c:pt idx="4645">
                  <c:v>29.069999999999997</c:v>
                </c:pt>
                <c:pt idx="4646">
                  <c:v>30.269999999999996</c:v>
                </c:pt>
                <c:pt idx="4647">
                  <c:v>33.46</c:v>
                </c:pt>
                <c:pt idx="4648">
                  <c:v>36.36</c:v>
                </c:pt>
                <c:pt idx="4649">
                  <c:v>37.159999999999997</c:v>
                </c:pt>
                <c:pt idx="4650">
                  <c:v>39.1</c:v>
                </c:pt>
                <c:pt idx="4651">
                  <c:v>40.099999999999994</c:v>
                </c:pt>
                <c:pt idx="4652">
                  <c:v>42.93</c:v>
                </c:pt>
                <c:pt idx="4653">
                  <c:v>42.13</c:v>
                </c:pt>
                <c:pt idx="4654">
                  <c:v>38.11999999999999</c:v>
                </c:pt>
                <c:pt idx="4655">
                  <c:v>34.399999999999991</c:v>
                </c:pt>
                <c:pt idx="4656">
                  <c:v>32.339999999999996</c:v>
                </c:pt>
                <c:pt idx="4657">
                  <c:v>30.36</c:v>
                </c:pt>
                <c:pt idx="4658">
                  <c:v>29.079999999999995</c:v>
                </c:pt>
                <c:pt idx="4659">
                  <c:v>29.550000000000004</c:v>
                </c:pt>
                <c:pt idx="4660">
                  <c:v>30.410000000000004</c:v>
                </c:pt>
                <c:pt idx="4661">
                  <c:v>39.94</c:v>
                </c:pt>
                <c:pt idx="4662">
                  <c:v>39.76</c:v>
                </c:pt>
                <c:pt idx="4663">
                  <c:v>44.971047557840613</c:v>
                </c:pt>
                <c:pt idx="4664">
                  <c:v>43.319999999999993</c:v>
                </c:pt>
                <c:pt idx="4665">
                  <c:v>41.62</c:v>
                </c:pt>
                <c:pt idx="4666">
                  <c:v>38.94</c:v>
                </c:pt>
                <c:pt idx="4667">
                  <c:v>37.1</c:v>
                </c:pt>
                <c:pt idx="4668">
                  <c:v>35.97</c:v>
                </c:pt>
                <c:pt idx="4669">
                  <c:v>31.91</c:v>
                </c:pt>
                <c:pt idx="4670">
                  <c:v>30.34</c:v>
                </c:pt>
                <c:pt idx="4671">
                  <c:v>31.290000000000003</c:v>
                </c:pt>
                <c:pt idx="4672">
                  <c:v>36.92</c:v>
                </c:pt>
                <c:pt idx="4673">
                  <c:v>40.93</c:v>
                </c:pt>
                <c:pt idx="4674">
                  <c:v>42.96</c:v>
                </c:pt>
                <c:pt idx="4675">
                  <c:v>39.69</c:v>
                </c:pt>
                <c:pt idx="4676">
                  <c:v>39.100000000000009</c:v>
                </c:pt>
                <c:pt idx="4677">
                  <c:v>39.71</c:v>
                </c:pt>
                <c:pt idx="4678">
                  <c:v>36.65</c:v>
                </c:pt>
                <c:pt idx="4679">
                  <c:v>34.57</c:v>
                </c:pt>
                <c:pt idx="4680">
                  <c:v>31.08</c:v>
                </c:pt>
                <c:pt idx="4681">
                  <c:v>30.819999999999993</c:v>
                </c:pt>
                <c:pt idx="4682">
                  <c:v>30.009999999999998</c:v>
                </c:pt>
                <c:pt idx="4683">
                  <c:v>29.4</c:v>
                </c:pt>
                <c:pt idx="4684">
                  <c:v>29.17</c:v>
                </c:pt>
                <c:pt idx="4685">
                  <c:v>30.459999999999997</c:v>
                </c:pt>
                <c:pt idx="4686">
                  <c:v>30.82</c:v>
                </c:pt>
                <c:pt idx="4687">
                  <c:v>31.94</c:v>
                </c:pt>
                <c:pt idx="4688">
                  <c:v>33.81</c:v>
                </c:pt>
                <c:pt idx="4689">
                  <c:v>33.43</c:v>
                </c:pt>
                <c:pt idx="4690">
                  <c:v>33.060000000000009</c:v>
                </c:pt>
                <c:pt idx="4691">
                  <c:v>32.22</c:v>
                </c:pt>
                <c:pt idx="4692">
                  <c:v>30.759999999999998</c:v>
                </c:pt>
                <c:pt idx="4693">
                  <c:v>29.07</c:v>
                </c:pt>
                <c:pt idx="4694">
                  <c:v>28.64</c:v>
                </c:pt>
                <c:pt idx="4695">
                  <c:v>29.039999999999996</c:v>
                </c:pt>
                <c:pt idx="4696">
                  <c:v>30.98</c:v>
                </c:pt>
                <c:pt idx="4697">
                  <c:v>35.21</c:v>
                </c:pt>
                <c:pt idx="4698">
                  <c:v>37.54</c:v>
                </c:pt>
                <c:pt idx="4699">
                  <c:v>37</c:v>
                </c:pt>
                <c:pt idx="4700">
                  <c:v>36.9</c:v>
                </c:pt>
                <c:pt idx="4701">
                  <c:v>37.980000000000004</c:v>
                </c:pt>
                <c:pt idx="4702">
                  <c:v>36.01</c:v>
                </c:pt>
                <c:pt idx="4703">
                  <c:v>34.65</c:v>
                </c:pt>
                <c:pt idx="4704">
                  <c:v>30.05</c:v>
                </c:pt>
                <c:pt idx="4705">
                  <c:v>28.68</c:v>
                </c:pt>
                <c:pt idx="4706">
                  <c:v>27.728394287129532</c:v>
                </c:pt>
                <c:pt idx="4707">
                  <c:v>23.784867424242425</c:v>
                </c:pt>
                <c:pt idx="4708">
                  <c:v>24.83</c:v>
                </c:pt>
                <c:pt idx="4709">
                  <c:v>25.11</c:v>
                </c:pt>
                <c:pt idx="4710">
                  <c:v>25.97</c:v>
                </c:pt>
                <c:pt idx="4711">
                  <c:v>26</c:v>
                </c:pt>
                <c:pt idx="4712">
                  <c:v>26.129999999999995</c:v>
                </c:pt>
                <c:pt idx="4713">
                  <c:v>26.399999999999995</c:v>
                </c:pt>
                <c:pt idx="4714">
                  <c:v>26.360000000000003</c:v>
                </c:pt>
                <c:pt idx="4715">
                  <c:v>26.21</c:v>
                </c:pt>
                <c:pt idx="4716">
                  <c:v>26.089999999999996</c:v>
                </c:pt>
                <c:pt idx="4717">
                  <c:v>25.370000000000005</c:v>
                </c:pt>
                <c:pt idx="4718">
                  <c:v>25.219999999999995</c:v>
                </c:pt>
                <c:pt idx="4719">
                  <c:v>26.249999999999996</c:v>
                </c:pt>
                <c:pt idx="4720">
                  <c:v>26.519999999999996</c:v>
                </c:pt>
                <c:pt idx="4721">
                  <c:v>26.700000000000003</c:v>
                </c:pt>
                <c:pt idx="4722">
                  <c:v>26.75</c:v>
                </c:pt>
                <c:pt idx="4723">
                  <c:v>26.779999999999998</c:v>
                </c:pt>
                <c:pt idx="4724">
                  <c:v>27</c:v>
                </c:pt>
                <c:pt idx="4725">
                  <c:v>26.909999999999997</c:v>
                </c:pt>
                <c:pt idx="4726">
                  <c:v>26.49</c:v>
                </c:pt>
                <c:pt idx="4727">
                  <c:v>25.73</c:v>
                </c:pt>
                <c:pt idx="4728">
                  <c:v>24.399999999999995</c:v>
                </c:pt>
                <c:pt idx="4729">
                  <c:v>23.98</c:v>
                </c:pt>
                <c:pt idx="4730">
                  <c:v>23.830000000000002</c:v>
                </c:pt>
                <c:pt idx="4731">
                  <c:v>23.98</c:v>
                </c:pt>
                <c:pt idx="4732">
                  <c:v>25.15</c:v>
                </c:pt>
                <c:pt idx="4733">
                  <c:v>26.18</c:v>
                </c:pt>
                <c:pt idx="4734">
                  <c:v>27.53</c:v>
                </c:pt>
                <c:pt idx="4735">
                  <c:v>28.040000000000003</c:v>
                </c:pt>
                <c:pt idx="4736">
                  <c:v>28.34</c:v>
                </c:pt>
                <c:pt idx="4737">
                  <c:v>27.909999999999997</c:v>
                </c:pt>
                <c:pt idx="4738">
                  <c:v>27.2</c:v>
                </c:pt>
                <c:pt idx="4739">
                  <c:v>26.68</c:v>
                </c:pt>
                <c:pt idx="4740">
                  <c:v>26.59</c:v>
                </c:pt>
                <c:pt idx="4741">
                  <c:v>26.52</c:v>
                </c:pt>
                <c:pt idx="4742">
                  <c:v>26.350000000000005</c:v>
                </c:pt>
                <c:pt idx="4743">
                  <c:v>26.260000000000005</c:v>
                </c:pt>
                <c:pt idx="4744">
                  <c:v>26.449999999999996</c:v>
                </c:pt>
                <c:pt idx="4745">
                  <c:v>26.58</c:v>
                </c:pt>
                <c:pt idx="4746">
                  <c:v>26.599999999999998</c:v>
                </c:pt>
                <c:pt idx="4747">
                  <c:v>26.620000000000005</c:v>
                </c:pt>
                <c:pt idx="4748">
                  <c:v>26.57</c:v>
                </c:pt>
                <c:pt idx="4749">
                  <c:v>26.290000000000003</c:v>
                </c:pt>
                <c:pt idx="4750">
                  <c:v>25.550000000000004</c:v>
                </c:pt>
                <c:pt idx="4751">
                  <c:v>25.71</c:v>
                </c:pt>
                <c:pt idx="4752">
                  <c:v>24.920000000000005</c:v>
                </c:pt>
                <c:pt idx="4753">
                  <c:v>24.259999999999998</c:v>
                </c:pt>
                <c:pt idx="4754">
                  <c:v>24.27</c:v>
                </c:pt>
                <c:pt idx="4755">
                  <c:v>24.24</c:v>
                </c:pt>
                <c:pt idx="4756">
                  <c:v>25.539999999999996</c:v>
                </c:pt>
                <c:pt idx="4757">
                  <c:v>26.57</c:v>
                </c:pt>
                <c:pt idx="4758">
                  <c:v>38.520000000000003</c:v>
                </c:pt>
                <c:pt idx="4759">
                  <c:v>42.88000000000001</c:v>
                </c:pt>
                <c:pt idx="4760">
                  <c:v>42.43</c:v>
                </c:pt>
                <c:pt idx="4761">
                  <c:v>41.75</c:v>
                </c:pt>
                <c:pt idx="4762">
                  <c:v>38.92</c:v>
                </c:pt>
                <c:pt idx="4763">
                  <c:v>34.169999999999995</c:v>
                </c:pt>
                <c:pt idx="4764">
                  <c:v>34.119999999999997</c:v>
                </c:pt>
                <c:pt idx="4765">
                  <c:v>33.69</c:v>
                </c:pt>
                <c:pt idx="4766">
                  <c:v>34.61999999999999</c:v>
                </c:pt>
                <c:pt idx="4767">
                  <c:v>38.570000000000007</c:v>
                </c:pt>
                <c:pt idx="4768">
                  <c:v>42.970000000000006</c:v>
                </c:pt>
                <c:pt idx="4769">
                  <c:v>45.79</c:v>
                </c:pt>
                <c:pt idx="4770">
                  <c:v>46.89</c:v>
                </c:pt>
                <c:pt idx="4771">
                  <c:v>43.970000000000006</c:v>
                </c:pt>
                <c:pt idx="4772">
                  <c:v>42.99</c:v>
                </c:pt>
                <c:pt idx="4773">
                  <c:v>40.83</c:v>
                </c:pt>
                <c:pt idx="4774">
                  <c:v>33.950000000000003</c:v>
                </c:pt>
                <c:pt idx="4775">
                  <c:v>30.929999999999996</c:v>
                </c:pt>
                <c:pt idx="4776">
                  <c:v>29.59</c:v>
                </c:pt>
                <c:pt idx="4777">
                  <c:v>28.620000000000005</c:v>
                </c:pt>
                <c:pt idx="4778">
                  <c:v>27.300000000000004</c:v>
                </c:pt>
                <c:pt idx="4779">
                  <c:v>27.629999999999992</c:v>
                </c:pt>
                <c:pt idx="4780">
                  <c:v>29.03</c:v>
                </c:pt>
                <c:pt idx="4781">
                  <c:v>37.96</c:v>
                </c:pt>
                <c:pt idx="4782">
                  <c:v>42.16</c:v>
                </c:pt>
                <c:pt idx="4783">
                  <c:v>42.910000000000004</c:v>
                </c:pt>
                <c:pt idx="4784">
                  <c:v>40.08</c:v>
                </c:pt>
                <c:pt idx="4785">
                  <c:v>37.93</c:v>
                </c:pt>
                <c:pt idx="4786">
                  <c:v>34.549999999999997</c:v>
                </c:pt>
                <c:pt idx="4787">
                  <c:v>31.7</c:v>
                </c:pt>
                <c:pt idx="4788">
                  <c:v>31.710000000000004</c:v>
                </c:pt>
                <c:pt idx="4789">
                  <c:v>32.9</c:v>
                </c:pt>
                <c:pt idx="4790">
                  <c:v>36.54</c:v>
                </c:pt>
                <c:pt idx="4791">
                  <c:v>38.03</c:v>
                </c:pt>
                <c:pt idx="4792">
                  <c:v>40.520000000000003</c:v>
                </c:pt>
                <c:pt idx="4793">
                  <c:v>34.46</c:v>
                </c:pt>
                <c:pt idx="4794">
                  <c:v>31.569999999999997</c:v>
                </c:pt>
                <c:pt idx="4795">
                  <c:v>29.14</c:v>
                </c:pt>
                <c:pt idx="4796">
                  <c:v>28.600000000000005</c:v>
                </c:pt>
                <c:pt idx="4797">
                  <c:v>27.76</c:v>
                </c:pt>
                <c:pt idx="4798">
                  <c:v>26.290000000000003</c:v>
                </c:pt>
                <c:pt idx="4799">
                  <c:v>26.84</c:v>
                </c:pt>
                <c:pt idx="4800">
                  <c:v>25.63</c:v>
                </c:pt>
                <c:pt idx="4801">
                  <c:v>25.08</c:v>
                </c:pt>
                <c:pt idx="4802">
                  <c:v>25.09</c:v>
                </c:pt>
                <c:pt idx="4803">
                  <c:v>25.060000000000002</c:v>
                </c:pt>
                <c:pt idx="4804">
                  <c:v>26.18</c:v>
                </c:pt>
                <c:pt idx="4805">
                  <c:v>27.49</c:v>
                </c:pt>
                <c:pt idx="4806">
                  <c:v>29.99</c:v>
                </c:pt>
                <c:pt idx="4807">
                  <c:v>34.510000000000005</c:v>
                </c:pt>
                <c:pt idx="4808">
                  <c:v>37.07</c:v>
                </c:pt>
                <c:pt idx="4809">
                  <c:v>37.090000000000003</c:v>
                </c:pt>
                <c:pt idx="4810">
                  <c:v>37.049999999999997</c:v>
                </c:pt>
                <c:pt idx="4811">
                  <c:v>37.01</c:v>
                </c:pt>
                <c:pt idx="4812">
                  <c:v>37.020000000000003</c:v>
                </c:pt>
                <c:pt idx="4813">
                  <c:v>36.020000000000003</c:v>
                </c:pt>
                <c:pt idx="4814">
                  <c:v>34.880000000000003</c:v>
                </c:pt>
                <c:pt idx="4815">
                  <c:v>33.659999999999989</c:v>
                </c:pt>
                <c:pt idx="4816">
                  <c:v>36.97</c:v>
                </c:pt>
                <c:pt idx="4817">
                  <c:v>39.770000000000003</c:v>
                </c:pt>
                <c:pt idx="4818">
                  <c:v>35.65</c:v>
                </c:pt>
                <c:pt idx="4819">
                  <c:v>34.590000000000003</c:v>
                </c:pt>
                <c:pt idx="4820">
                  <c:v>34.53</c:v>
                </c:pt>
                <c:pt idx="4821">
                  <c:v>30.15</c:v>
                </c:pt>
                <c:pt idx="4822">
                  <c:v>27.459999999999997</c:v>
                </c:pt>
                <c:pt idx="4823">
                  <c:v>27.47</c:v>
                </c:pt>
                <c:pt idx="4824">
                  <c:v>26.919999999999998</c:v>
                </c:pt>
                <c:pt idx="4825">
                  <c:v>26.68</c:v>
                </c:pt>
                <c:pt idx="4826">
                  <c:v>26.21</c:v>
                </c:pt>
                <c:pt idx="4827">
                  <c:v>26.44</c:v>
                </c:pt>
                <c:pt idx="4828">
                  <c:v>27.4</c:v>
                </c:pt>
                <c:pt idx="4829">
                  <c:v>32.76</c:v>
                </c:pt>
                <c:pt idx="4830">
                  <c:v>35.35</c:v>
                </c:pt>
                <c:pt idx="4831">
                  <c:v>35.83</c:v>
                </c:pt>
                <c:pt idx="4832">
                  <c:v>38.869999999999997</c:v>
                </c:pt>
                <c:pt idx="4833">
                  <c:v>37.51</c:v>
                </c:pt>
                <c:pt idx="4834">
                  <c:v>39.04</c:v>
                </c:pt>
                <c:pt idx="4835">
                  <c:v>35.979999999999997</c:v>
                </c:pt>
                <c:pt idx="4836">
                  <c:v>32.94</c:v>
                </c:pt>
                <c:pt idx="4837">
                  <c:v>32.869999999999997</c:v>
                </c:pt>
                <c:pt idx="4838">
                  <c:v>32.9</c:v>
                </c:pt>
                <c:pt idx="4839">
                  <c:v>35.11</c:v>
                </c:pt>
                <c:pt idx="4840">
                  <c:v>39.01</c:v>
                </c:pt>
                <c:pt idx="4841">
                  <c:v>41.42</c:v>
                </c:pt>
                <c:pt idx="4842">
                  <c:v>42.629999999999995</c:v>
                </c:pt>
                <c:pt idx="4843">
                  <c:v>42.01</c:v>
                </c:pt>
                <c:pt idx="4844">
                  <c:v>40.57</c:v>
                </c:pt>
                <c:pt idx="4845">
                  <c:v>41.38</c:v>
                </c:pt>
                <c:pt idx="4846">
                  <c:v>36.79</c:v>
                </c:pt>
                <c:pt idx="4847">
                  <c:v>31.43</c:v>
                </c:pt>
                <c:pt idx="4848">
                  <c:v>27.930000000000003</c:v>
                </c:pt>
                <c:pt idx="4849">
                  <c:v>27.150000000000002</c:v>
                </c:pt>
                <c:pt idx="4850">
                  <c:v>27.04</c:v>
                </c:pt>
                <c:pt idx="4851">
                  <c:v>26.8</c:v>
                </c:pt>
                <c:pt idx="4852">
                  <c:v>26.750000000000004</c:v>
                </c:pt>
                <c:pt idx="4853">
                  <c:v>27.31</c:v>
                </c:pt>
                <c:pt idx="4854">
                  <c:v>30.179999999999996</c:v>
                </c:pt>
                <c:pt idx="4855">
                  <c:v>33.119999999999997</c:v>
                </c:pt>
                <c:pt idx="4856">
                  <c:v>33.85</c:v>
                </c:pt>
                <c:pt idx="4857">
                  <c:v>34.83</c:v>
                </c:pt>
                <c:pt idx="4858">
                  <c:v>33.83</c:v>
                </c:pt>
                <c:pt idx="4859">
                  <c:v>32.25</c:v>
                </c:pt>
                <c:pt idx="4860">
                  <c:v>30.02</c:v>
                </c:pt>
                <c:pt idx="4861">
                  <c:v>28.78</c:v>
                </c:pt>
                <c:pt idx="4862">
                  <c:v>29.180000000000003</c:v>
                </c:pt>
                <c:pt idx="4863">
                  <c:v>29.820000000000007</c:v>
                </c:pt>
                <c:pt idx="4864">
                  <c:v>32.45000000000001</c:v>
                </c:pt>
                <c:pt idx="4865">
                  <c:v>32.86999999999999</c:v>
                </c:pt>
                <c:pt idx="4866">
                  <c:v>32.33</c:v>
                </c:pt>
                <c:pt idx="4867">
                  <c:v>31.03</c:v>
                </c:pt>
                <c:pt idx="4868">
                  <c:v>30.600000000000005</c:v>
                </c:pt>
                <c:pt idx="4869">
                  <c:v>28.89</c:v>
                </c:pt>
                <c:pt idx="4870">
                  <c:v>27.050000000000004</c:v>
                </c:pt>
                <c:pt idx="4871">
                  <c:v>27.26</c:v>
                </c:pt>
                <c:pt idx="4872">
                  <c:v>27.02</c:v>
                </c:pt>
                <c:pt idx="4873">
                  <c:v>26.05</c:v>
                </c:pt>
                <c:pt idx="4874">
                  <c:v>24.68</c:v>
                </c:pt>
                <c:pt idx="4875">
                  <c:v>23.07</c:v>
                </c:pt>
                <c:pt idx="4876">
                  <c:v>23.96</c:v>
                </c:pt>
                <c:pt idx="4877">
                  <c:v>23.9</c:v>
                </c:pt>
                <c:pt idx="4878">
                  <c:v>25.17</c:v>
                </c:pt>
                <c:pt idx="4879">
                  <c:v>25.78</c:v>
                </c:pt>
                <c:pt idx="4880">
                  <c:v>26.67</c:v>
                </c:pt>
                <c:pt idx="4881">
                  <c:v>26.870000000000005</c:v>
                </c:pt>
                <c:pt idx="4882">
                  <c:v>27.179999999999996</c:v>
                </c:pt>
                <c:pt idx="4883">
                  <c:v>27.219999999999995</c:v>
                </c:pt>
                <c:pt idx="4884">
                  <c:v>26.323846627656302</c:v>
                </c:pt>
                <c:pt idx="4885">
                  <c:v>25.51</c:v>
                </c:pt>
                <c:pt idx="4886">
                  <c:v>20.913676320067431</c:v>
                </c:pt>
                <c:pt idx="4887">
                  <c:v>23.461136298912116</c:v>
                </c:pt>
                <c:pt idx="4888">
                  <c:v>27.05</c:v>
                </c:pt>
                <c:pt idx="4889">
                  <c:v>29.62</c:v>
                </c:pt>
                <c:pt idx="4890">
                  <c:v>37.050000000000004</c:v>
                </c:pt>
                <c:pt idx="4891">
                  <c:v>38.51</c:v>
                </c:pt>
                <c:pt idx="4892">
                  <c:v>39.419999999999995</c:v>
                </c:pt>
                <c:pt idx="4893">
                  <c:v>42.85</c:v>
                </c:pt>
                <c:pt idx="4894">
                  <c:v>39.07</c:v>
                </c:pt>
                <c:pt idx="4895">
                  <c:v>27.049999999999997</c:v>
                </c:pt>
                <c:pt idx="4896">
                  <c:v>35.620000000000005</c:v>
                </c:pt>
                <c:pt idx="4897">
                  <c:v>32.700000000000003</c:v>
                </c:pt>
                <c:pt idx="4898">
                  <c:v>31.28</c:v>
                </c:pt>
                <c:pt idx="4899">
                  <c:v>30.459999999999997</c:v>
                </c:pt>
                <c:pt idx="4900">
                  <c:v>33.24</c:v>
                </c:pt>
                <c:pt idx="4901">
                  <c:v>41.9</c:v>
                </c:pt>
                <c:pt idx="4902">
                  <c:v>44.18</c:v>
                </c:pt>
                <c:pt idx="4903">
                  <c:v>44.12</c:v>
                </c:pt>
                <c:pt idx="4904">
                  <c:v>48.230000000000004</c:v>
                </c:pt>
                <c:pt idx="4905">
                  <c:v>48.45</c:v>
                </c:pt>
                <c:pt idx="4906">
                  <c:v>47.769999999999996</c:v>
                </c:pt>
                <c:pt idx="4907">
                  <c:v>46.47</c:v>
                </c:pt>
                <c:pt idx="4908">
                  <c:v>44.910000000000004</c:v>
                </c:pt>
                <c:pt idx="4909">
                  <c:v>42.29</c:v>
                </c:pt>
                <c:pt idx="4910">
                  <c:v>40.94</c:v>
                </c:pt>
                <c:pt idx="4911">
                  <c:v>39.200000000000003</c:v>
                </c:pt>
                <c:pt idx="4912">
                  <c:v>39.700000000000003</c:v>
                </c:pt>
                <c:pt idx="4913">
                  <c:v>38.18</c:v>
                </c:pt>
                <c:pt idx="4914">
                  <c:v>38.659999999999997</c:v>
                </c:pt>
                <c:pt idx="4915">
                  <c:v>36.43</c:v>
                </c:pt>
                <c:pt idx="4916">
                  <c:v>34.730000000000004</c:v>
                </c:pt>
                <c:pt idx="4917">
                  <c:v>34.590000000000003</c:v>
                </c:pt>
                <c:pt idx="4918">
                  <c:v>29.66</c:v>
                </c:pt>
                <c:pt idx="4919">
                  <c:v>30.270000000000003</c:v>
                </c:pt>
                <c:pt idx="4920">
                  <c:v>28.260000000000005</c:v>
                </c:pt>
                <c:pt idx="4921">
                  <c:v>26.79</c:v>
                </c:pt>
                <c:pt idx="4922">
                  <c:v>26.81</c:v>
                </c:pt>
                <c:pt idx="4923">
                  <c:v>26.04</c:v>
                </c:pt>
                <c:pt idx="4924">
                  <c:v>26.209999999999997</c:v>
                </c:pt>
                <c:pt idx="4925">
                  <c:v>27.110000000000003</c:v>
                </c:pt>
                <c:pt idx="4926">
                  <c:v>28.54</c:v>
                </c:pt>
                <c:pt idx="4927">
                  <c:v>29.760000000000005</c:v>
                </c:pt>
                <c:pt idx="4928">
                  <c:v>29.579999999999995</c:v>
                </c:pt>
                <c:pt idx="4929">
                  <c:v>30.499999999999996</c:v>
                </c:pt>
                <c:pt idx="4930">
                  <c:v>29.869999999999997</c:v>
                </c:pt>
                <c:pt idx="4931">
                  <c:v>29.77</c:v>
                </c:pt>
                <c:pt idx="4932">
                  <c:v>29.53</c:v>
                </c:pt>
                <c:pt idx="4933">
                  <c:v>29.48</c:v>
                </c:pt>
                <c:pt idx="4934">
                  <c:v>29.18</c:v>
                </c:pt>
                <c:pt idx="4935">
                  <c:v>28.87</c:v>
                </c:pt>
                <c:pt idx="4936">
                  <c:v>29.77</c:v>
                </c:pt>
                <c:pt idx="4937">
                  <c:v>36.950000000000003</c:v>
                </c:pt>
                <c:pt idx="4938">
                  <c:v>35.400000000000006</c:v>
                </c:pt>
                <c:pt idx="4939">
                  <c:v>33.78</c:v>
                </c:pt>
                <c:pt idx="4940">
                  <c:v>32.96</c:v>
                </c:pt>
                <c:pt idx="4941">
                  <c:v>32.21</c:v>
                </c:pt>
                <c:pt idx="4942">
                  <c:v>29.01</c:v>
                </c:pt>
                <c:pt idx="4943">
                  <c:v>26.165579665220086</c:v>
                </c:pt>
                <c:pt idx="4944">
                  <c:v>25.531669494844017</c:v>
                </c:pt>
                <c:pt idx="4945">
                  <c:v>23.617926829268292</c:v>
                </c:pt>
                <c:pt idx="4946">
                  <c:v>22.930000000000003</c:v>
                </c:pt>
                <c:pt idx="4947">
                  <c:v>22.177853126597373</c:v>
                </c:pt>
                <c:pt idx="4948">
                  <c:v>25.804643268124277</c:v>
                </c:pt>
                <c:pt idx="4949">
                  <c:v>27.787012391005046</c:v>
                </c:pt>
                <c:pt idx="4950">
                  <c:v>29.489999999999995</c:v>
                </c:pt>
                <c:pt idx="4951">
                  <c:v>37.780000000000008</c:v>
                </c:pt>
                <c:pt idx="4952">
                  <c:v>37.919999999999995</c:v>
                </c:pt>
                <c:pt idx="4953">
                  <c:v>37.96</c:v>
                </c:pt>
                <c:pt idx="4954">
                  <c:v>38.08</c:v>
                </c:pt>
                <c:pt idx="4955">
                  <c:v>37.96</c:v>
                </c:pt>
                <c:pt idx="4956">
                  <c:v>37.729999999999997</c:v>
                </c:pt>
                <c:pt idx="4957">
                  <c:v>36.080000000000005</c:v>
                </c:pt>
                <c:pt idx="4958">
                  <c:v>35.229999999999997</c:v>
                </c:pt>
                <c:pt idx="4959">
                  <c:v>34.380000000000003</c:v>
                </c:pt>
                <c:pt idx="4960">
                  <c:v>35.270000000000003</c:v>
                </c:pt>
                <c:pt idx="4961">
                  <c:v>36.39</c:v>
                </c:pt>
                <c:pt idx="4962">
                  <c:v>37.94</c:v>
                </c:pt>
                <c:pt idx="4963">
                  <c:v>36.929999999999993</c:v>
                </c:pt>
                <c:pt idx="4964">
                  <c:v>35.93</c:v>
                </c:pt>
                <c:pt idx="4965">
                  <c:v>35.75</c:v>
                </c:pt>
                <c:pt idx="4966">
                  <c:v>30.069999999999997</c:v>
                </c:pt>
                <c:pt idx="4967">
                  <c:v>28.732005766062606</c:v>
                </c:pt>
                <c:pt idx="4968">
                  <c:v>26.709086110194658</c:v>
                </c:pt>
                <c:pt idx="4969">
                  <c:v>24.858520581113805</c:v>
                </c:pt>
                <c:pt idx="4970">
                  <c:v>23.69</c:v>
                </c:pt>
                <c:pt idx="4971">
                  <c:v>24.485292061907138</c:v>
                </c:pt>
                <c:pt idx="4972">
                  <c:v>27.019534549633672</c:v>
                </c:pt>
                <c:pt idx="4973">
                  <c:v>29</c:v>
                </c:pt>
                <c:pt idx="4974">
                  <c:v>35.31</c:v>
                </c:pt>
                <c:pt idx="4975">
                  <c:v>37.909999999999997</c:v>
                </c:pt>
                <c:pt idx="4976">
                  <c:v>37.89</c:v>
                </c:pt>
                <c:pt idx="4977">
                  <c:v>38.050000000000004</c:v>
                </c:pt>
                <c:pt idx="4978">
                  <c:v>37.559999999999995</c:v>
                </c:pt>
                <c:pt idx="4979">
                  <c:v>37.57</c:v>
                </c:pt>
                <c:pt idx="4980">
                  <c:v>37.119999999999997</c:v>
                </c:pt>
                <c:pt idx="4981">
                  <c:v>35.14</c:v>
                </c:pt>
                <c:pt idx="4982">
                  <c:v>33.690000000000005</c:v>
                </c:pt>
                <c:pt idx="4983">
                  <c:v>33.57</c:v>
                </c:pt>
                <c:pt idx="4984">
                  <c:v>35.74</c:v>
                </c:pt>
                <c:pt idx="4985">
                  <c:v>37.32</c:v>
                </c:pt>
                <c:pt idx="4986">
                  <c:v>38.979999999999997</c:v>
                </c:pt>
                <c:pt idx="4987">
                  <c:v>38.06</c:v>
                </c:pt>
                <c:pt idx="4988">
                  <c:v>36.869999999999997</c:v>
                </c:pt>
                <c:pt idx="4989">
                  <c:v>36.549999999999997</c:v>
                </c:pt>
                <c:pt idx="4990">
                  <c:v>30.240000000000002</c:v>
                </c:pt>
                <c:pt idx="4991">
                  <c:v>33.86</c:v>
                </c:pt>
                <c:pt idx="4992">
                  <c:v>28.07</c:v>
                </c:pt>
                <c:pt idx="4993">
                  <c:v>27.42</c:v>
                </c:pt>
                <c:pt idx="4994">
                  <c:v>26.799999999999997</c:v>
                </c:pt>
                <c:pt idx="4995">
                  <c:v>26.46</c:v>
                </c:pt>
                <c:pt idx="4996">
                  <c:v>27.479999999999997</c:v>
                </c:pt>
                <c:pt idx="4997">
                  <c:v>32.130000000000003</c:v>
                </c:pt>
                <c:pt idx="4998">
                  <c:v>38</c:v>
                </c:pt>
                <c:pt idx="4999">
                  <c:v>38.800000000000004</c:v>
                </c:pt>
                <c:pt idx="5000">
                  <c:v>37.049999999999997</c:v>
                </c:pt>
                <c:pt idx="5001">
                  <c:v>35.5</c:v>
                </c:pt>
                <c:pt idx="5002">
                  <c:v>31.000000000000004</c:v>
                </c:pt>
                <c:pt idx="5003">
                  <c:v>27.510000000000005</c:v>
                </c:pt>
                <c:pt idx="5004">
                  <c:v>25.566779388083734</c:v>
                </c:pt>
                <c:pt idx="5005">
                  <c:v>26.590000000000003</c:v>
                </c:pt>
                <c:pt idx="5006">
                  <c:v>26.08644927536232</c:v>
                </c:pt>
                <c:pt idx="5007">
                  <c:v>26.403638817323028</c:v>
                </c:pt>
                <c:pt idx="5008">
                  <c:v>28.37</c:v>
                </c:pt>
                <c:pt idx="5009">
                  <c:v>27.829999999999995</c:v>
                </c:pt>
                <c:pt idx="5010">
                  <c:v>27.78</c:v>
                </c:pt>
                <c:pt idx="5011">
                  <c:v>27.669999999999998</c:v>
                </c:pt>
                <c:pt idx="5012">
                  <c:v>27.64</c:v>
                </c:pt>
                <c:pt idx="5013">
                  <c:v>27.619999999999997</c:v>
                </c:pt>
                <c:pt idx="5014">
                  <c:v>27.1</c:v>
                </c:pt>
                <c:pt idx="5015">
                  <c:v>27.623217616580305</c:v>
                </c:pt>
                <c:pt idx="5016">
                  <c:v>23.455326697546074</c:v>
                </c:pt>
                <c:pt idx="5017">
                  <c:v>19.116102932516782</c:v>
                </c:pt>
                <c:pt idx="5018">
                  <c:v>14.64</c:v>
                </c:pt>
                <c:pt idx="5019">
                  <c:v>10.370000000000001</c:v>
                </c:pt>
                <c:pt idx="5020">
                  <c:v>12.179999999999998</c:v>
                </c:pt>
                <c:pt idx="5021">
                  <c:v>14.88</c:v>
                </c:pt>
                <c:pt idx="5022">
                  <c:v>21.52</c:v>
                </c:pt>
                <c:pt idx="5023">
                  <c:v>23.72</c:v>
                </c:pt>
                <c:pt idx="5024">
                  <c:v>24.72</c:v>
                </c:pt>
                <c:pt idx="5025">
                  <c:v>25.989999999999995</c:v>
                </c:pt>
                <c:pt idx="5026">
                  <c:v>25.88</c:v>
                </c:pt>
                <c:pt idx="5027">
                  <c:v>24.989999999999995</c:v>
                </c:pt>
                <c:pt idx="5028">
                  <c:v>24.04</c:v>
                </c:pt>
                <c:pt idx="5029">
                  <c:v>22.97</c:v>
                </c:pt>
                <c:pt idx="5030">
                  <c:v>21.67</c:v>
                </c:pt>
                <c:pt idx="5031">
                  <c:v>19.953352103524825</c:v>
                </c:pt>
                <c:pt idx="5032">
                  <c:v>25.47</c:v>
                </c:pt>
                <c:pt idx="5033">
                  <c:v>30.130000000000003</c:v>
                </c:pt>
                <c:pt idx="5034">
                  <c:v>27.71</c:v>
                </c:pt>
                <c:pt idx="5035">
                  <c:v>27.21</c:v>
                </c:pt>
                <c:pt idx="5036">
                  <c:v>27.29</c:v>
                </c:pt>
                <c:pt idx="5037">
                  <c:v>27.459999999999997</c:v>
                </c:pt>
                <c:pt idx="5038">
                  <c:v>27.200000000000003</c:v>
                </c:pt>
                <c:pt idx="5039">
                  <c:v>26.801291684254966</c:v>
                </c:pt>
                <c:pt idx="5040">
                  <c:v>21.308341956726249</c:v>
                </c:pt>
                <c:pt idx="5041">
                  <c:v>22.3</c:v>
                </c:pt>
                <c:pt idx="5042">
                  <c:v>23.47</c:v>
                </c:pt>
                <c:pt idx="5043">
                  <c:v>22.2</c:v>
                </c:pt>
                <c:pt idx="5044">
                  <c:v>22.26</c:v>
                </c:pt>
                <c:pt idx="5045">
                  <c:v>22.26</c:v>
                </c:pt>
                <c:pt idx="5046">
                  <c:v>23.48</c:v>
                </c:pt>
                <c:pt idx="5047">
                  <c:v>24.39</c:v>
                </c:pt>
                <c:pt idx="5048">
                  <c:v>24.449999999999996</c:v>
                </c:pt>
                <c:pt idx="5049">
                  <c:v>25.36</c:v>
                </c:pt>
                <c:pt idx="5050">
                  <c:v>25.109999999999996</c:v>
                </c:pt>
                <c:pt idx="5051">
                  <c:v>25.349999999999998</c:v>
                </c:pt>
                <c:pt idx="5052">
                  <c:v>24.58</c:v>
                </c:pt>
                <c:pt idx="5053">
                  <c:v>5.2296043165467632</c:v>
                </c:pt>
                <c:pt idx="5054">
                  <c:v>3.1215321680922274</c:v>
                </c:pt>
                <c:pt idx="5055">
                  <c:v>21.27</c:v>
                </c:pt>
                <c:pt idx="5056">
                  <c:v>5.7169621573301539</c:v>
                </c:pt>
                <c:pt idx="5057">
                  <c:v>22.785597441480672</c:v>
                </c:pt>
                <c:pt idx="5058">
                  <c:v>31.470046833706888</c:v>
                </c:pt>
                <c:pt idx="5059">
                  <c:v>34.520000000000003</c:v>
                </c:pt>
                <c:pt idx="5060">
                  <c:v>35.93</c:v>
                </c:pt>
                <c:pt idx="5061">
                  <c:v>27.540000000000003</c:v>
                </c:pt>
                <c:pt idx="5062">
                  <c:v>27.11</c:v>
                </c:pt>
                <c:pt idx="5063">
                  <c:v>26.000000000000004</c:v>
                </c:pt>
                <c:pt idx="5064">
                  <c:v>25.56</c:v>
                </c:pt>
                <c:pt idx="5065">
                  <c:v>25.28</c:v>
                </c:pt>
                <c:pt idx="5066">
                  <c:v>24.32</c:v>
                </c:pt>
                <c:pt idx="5067">
                  <c:v>24.64</c:v>
                </c:pt>
                <c:pt idx="5068">
                  <c:v>26.009999999999998</c:v>
                </c:pt>
                <c:pt idx="5069">
                  <c:v>26.97</c:v>
                </c:pt>
                <c:pt idx="5070">
                  <c:v>27.519999999999996</c:v>
                </c:pt>
                <c:pt idx="5071">
                  <c:v>27.73</c:v>
                </c:pt>
                <c:pt idx="5072">
                  <c:v>27.77</c:v>
                </c:pt>
                <c:pt idx="5073">
                  <c:v>27.77</c:v>
                </c:pt>
                <c:pt idx="5074">
                  <c:v>27.65</c:v>
                </c:pt>
                <c:pt idx="5075">
                  <c:v>27.55</c:v>
                </c:pt>
                <c:pt idx="5076">
                  <c:v>27.400000000000002</c:v>
                </c:pt>
                <c:pt idx="5077">
                  <c:v>27.349999999999998</c:v>
                </c:pt>
                <c:pt idx="5078">
                  <c:v>27.270000000000003</c:v>
                </c:pt>
                <c:pt idx="5079">
                  <c:v>27.260000000000005</c:v>
                </c:pt>
                <c:pt idx="5080">
                  <c:v>27.339999999999996</c:v>
                </c:pt>
                <c:pt idx="5081">
                  <c:v>28.052044839814872</c:v>
                </c:pt>
                <c:pt idx="5082">
                  <c:v>27.37</c:v>
                </c:pt>
                <c:pt idx="5083">
                  <c:v>27.41</c:v>
                </c:pt>
                <c:pt idx="5084">
                  <c:v>27.47</c:v>
                </c:pt>
                <c:pt idx="5085">
                  <c:v>37.840000000000003</c:v>
                </c:pt>
                <c:pt idx="5086">
                  <c:v>26.880000000000003</c:v>
                </c:pt>
                <c:pt idx="5087">
                  <c:v>26.970000000000002</c:v>
                </c:pt>
                <c:pt idx="5088">
                  <c:v>26.620000000000005</c:v>
                </c:pt>
                <c:pt idx="5089">
                  <c:v>26.18</c:v>
                </c:pt>
                <c:pt idx="5090">
                  <c:v>26.79</c:v>
                </c:pt>
                <c:pt idx="5091">
                  <c:v>25.95</c:v>
                </c:pt>
                <c:pt idx="5092">
                  <c:v>27.540000000000003</c:v>
                </c:pt>
                <c:pt idx="5093">
                  <c:v>32.659999999999997</c:v>
                </c:pt>
                <c:pt idx="5094">
                  <c:v>37</c:v>
                </c:pt>
                <c:pt idx="5095">
                  <c:v>38.94</c:v>
                </c:pt>
                <c:pt idx="5096">
                  <c:v>38.090000000000003</c:v>
                </c:pt>
                <c:pt idx="5097">
                  <c:v>37.9</c:v>
                </c:pt>
                <c:pt idx="5098">
                  <c:v>37.08</c:v>
                </c:pt>
                <c:pt idx="5099">
                  <c:v>36.450000000000003</c:v>
                </c:pt>
                <c:pt idx="5100">
                  <c:v>35.930000000000007</c:v>
                </c:pt>
                <c:pt idx="5101">
                  <c:v>35.909999999999997</c:v>
                </c:pt>
                <c:pt idx="5102">
                  <c:v>36</c:v>
                </c:pt>
                <c:pt idx="5103">
                  <c:v>36.609999999999992</c:v>
                </c:pt>
                <c:pt idx="5104">
                  <c:v>38.47</c:v>
                </c:pt>
                <c:pt idx="5105">
                  <c:v>40.94</c:v>
                </c:pt>
                <c:pt idx="5106">
                  <c:v>41.060000000000009</c:v>
                </c:pt>
                <c:pt idx="5107">
                  <c:v>38.96</c:v>
                </c:pt>
                <c:pt idx="5108">
                  <c:v>37.040000000000006</c:v>
                </c:pt>
                <c:pt idx="5109">
                  <c:v>35.94</c:v>
                </c:pt>
                <c:pt idx="5110">
                  <c:v>31.690000000000005</c:v>
                </c:pt>
                <c:pt idx="5111">
                  <c:v>27.62</c:v>
                </c:pt>
                <c:pt idx="5112">
                  <c:v>25.74</c:v>
                </c:pt>
                <c:pt idx="5113">
                  <c:v>25.36</c:v>
                </c:pt>
                <c:pt idx="5114">
                  <c:v>25.02</c:v>
                </c:pt>
                <c:pt idx="5115">
                  <c:v>25.16</c:v>
                </c:pt>
                <c:pt idx="5116">
                  <c:v>27.069999999999997</c:v>
                </c:pt>
                <c:pt idx="5117">
                  <c:v>29.53</c:v>
                </c:pt>
                <c:pt idx="5118">
                  <c:v>32.07</c:v>
                </c:pt>
                <c:pt idx="5119">
                  <c:v>35.69</c:v>
                </c:pt>
                <c:pt idx="5120">
                  <c:v>35.600000000000009</c:v>
                </c:pt>
                <c:pt idx="5121">
                  <c:v>35.090000000000003</c:v>
                </c:pt>
                <c:pt idx="5122">
                  <c:v>33.93</c:v>
                </c:pt>
                <c:pt idx="5123">
                  <c:v>32.159999999999989</c:v>
                </c:pt>
                <c:pt idx="5124">
                  <c:v>29.179999999999996</c:v>
                </c:pt>
                <c:pt idx="5125">
                  <c:v>28.87</c:v>
                </c:pt>
                <c:pt idx="5126">
                  <c:v>27.97</c:v>
                </c:pt>
                <c:pt idx="5127">
                  <c:v>28.12</c:v>
                </c:pt>
                <c:pt idx="5128">
                  <c:v>35.990000000000009</c:v>
                </c:pt>
                <c:pt idx="5129">
                  <c:v>39.229999999999997</c:v>
                </c:pt>
                <c:pt idx="5130">
                  <c:v>40.939999999999991</c:v>
                </c:pt>
                <c:pt idx="5131">
                  <c:v>39.270000000000003</c:v>
                </c:pt>
                <c:pt idx="5132">
                  <c:v>38.15</c:v>
                </c:pt>
                <c:pt idx="5133">
                  <c:v>37.53</c:v>
                </c:pt>
                <c:pt idx="5134">
                  <c:v>34.459999999999994</c:v>
                </c:pt>
                <c:pt idx="5135">
                  <c:v>28.1</c:v>
                </c:pt>
                <c:pt idx="5136">
                  <c:v>25.94</c:v>
                </c:pt>
                <c:pt idx="5137">
                  <c:v>24.760000000000005</c:v>
                </c:pt>
                <c:pt idx="5138">
                  <c:v>23.36</c:v>
                </c:pt>
                <c:pt idx="5139">
                  <c:v>23.39</c:v>
                </c:pt>
                <c:pt idx="5140">
                  <c:v>25.079999999999995</c:v>
                </c:pt>
                <c:pt idx="5141">
                  <c:v>26.700000000000003</c:v>
                </c:pt>
                <c:pt idx="5142">
                  <c:v>28.800000000000004</c:v>
                </c:pt>
                <c:pt idx="5143">
                  <c:v>32.520000000000003</c:v>
                </c:pt>
                <c:pt idx="5144">
                  <c:v>35.04</c:v>
                </c:pt>
                <c:pt idx="5145">
                  <c:v>35.03</c:v>
                </c:pt>
                <c:pt idx="5146">
                  <c:v>33.869999999999997</c:v>
                </c:pt>
                <c:pt idx="5147">
                  <c:v>30.57</c:v>
                </c:pt>
                <c:pt idx="5148">
                  <c:v>27.15365344916566</c:v>
                </c:pt>
                <c:pt idx="5149">
                  <c:v>22.662089285714284</c:v>
                </c:pt>
                <c:pt idx="5150">
                  <c:v>26.051754983549451</c:v>
                </c:pt>
                <c:pt idx="5151">
                  <c:v>25.949999999999996</c:v>
                </c:pt>
                <c:pt idx="5152">
                  <c:v>25.034926339647075</c:v>
                </c:pt>
                <c:pt idx="5153">
                  <c:v>26.82</c:v>
                </c:pt>
                <c:pt idx="5154">
                  <c:v>27.069999999999997</c:v>
                </c:pt>
                <c:pt idx="5155">
                  <c:v>26.799999999999997</c:v>
                </c:pt>
                <c:pt idx="5156">
                  <c:v>26.809999999999995</c:v>
                </c:pt>
                <c:pt idx="5157">
                  <c:v>26.67</c:v>
                </c:pt>
                <c:pt idx="5158">
                  <c:v>25.519999999999996</c:v>
                </c:pt>
                <c:pt idx="5159">
                  <c:v>25.159999999999997</c:v>
                </c:pt>
                <c:pt idx="5160">
                  <c:v>22.7</c:v>
                </c:pt>
                <c:pt idx="5161">
                  <c:v>21.3</c:v>
                </c:pt>
                <c:pt idx="5162">
                  <c:v>19.03</c:v>
                </c:pt>
                <c:pt idx="5163">
                  <c:v>18.95</c:v>
                </c:pt>
                <c:pt idx="5164">
                  <c:v>22.118400874521747</c:v>
                </c:pt>
                <c:pt idx="5165">
                  <c:v>27.556181643188378</c:v>
                </c:pt>
                <c:pt idx="5166">
                  <c:v>26.12</c:v>
                </c:pt>
                <c:pt idx="5167">
                  <c:v>26.520000000000003</c:v>
                </c:pt>
                <c:pt idx="5168">
                  <c:v>26.61</c:v>
                </c:pt>
                <c:pt idx="5169">
                  <c:v>27.961848447651267</c:v>
                </c:pt>
                <c:pt idx="5170">
                  <c:v>24.065854028969202</c:v>
                </c:pt>
                <c:pt idx="5171">
                  <c:v>25.259999999999998</c:v>
                </c:pt>
                <c:pt idx="5172">
                  <c:v>25.06</c:v>
                </c:pt>
                <c:pt idx="5173">
                  <c:v>12.684433646025518</c:v>
                </c:pt>
                <c:pt idx="5174">
                  <c:v>13.555428504343741</c:v>
                </c:pt>
                <c:pt idx="5175">
                  <c:v>13.384790649758395</c:v>
                </c:pt>
                <c:pt idx="5176">
                  <c:v>21.003533604376852</c:v>
                </c:pt>
                <c:pt idx="5177">
                  <c:v>27.908888434220909</c:v>
                </c:pt>
                <c:pt idx="5178">
                  <c:v>26.060000000000002</c:v>
                </c:pt>
                <c:pt idx="5179">
                  <c:v>25.890000000000004</c:v>
                </c:pt>
                <c:pt idx="5180">
                  <c:v>25.86</c:v>
                </c:pt>
                <c:pt idx="5181">
                  <c:v>25.63</c:v>
                </c:pt>
                <c:pt idx="5182">
                  <c:v>24.58</c:v>
                </c:pt>
                <c:pt idx="5183">
                  <c:v>23.999999999999996</c:v>
                </c:pt>
                <c:pt idx="5184">
                  <c:v>23.030000000000005</c:v>
                </c:pt>
                <c:pt idx="5185">
                  <c:v>22</c:v>
                </c:pt>
                <c:pt idx="5186">
                  <c:v>21.490000000000002</c:v>
                </c:pt>
                <c:pt idx="5187">
                  <c:v>20.7</c:v>
                </c:pt>
                <c:pt idx="5188">
                  <c:v>20.440000000000001</c:v>
                </c:pt>
                <c:pt idx="5189">
                  <c:v>22.84</c:v>
                </c:pt>
                <c:pt idx="5190">
                  <c:v>23.67</c:v>
                </c:pt>
                <c:pt idx="5191">
                  <c:v>24.75</c:v>
                </c:pt>
                <c:pt idx="5192">
                  <c:v>25.280000000000005</c:v>
                </c:pt>
                <c:pt idx="5193">
                  <c:v>25.667253743247652</c:v>
                </c:pt>
                <c:pt idx="5194">
                  <c:v>25.604204230373124</c:v>
                </c:pt>
                <c:pt idx="5195">
                  <c:v>25.06</c:v>
                </c:pt>
                <c:pt idx="5196">
                  <c:v>23.37</c:v>
                </c:pt>
                <c:pt idx="5197">
                  <c:v>23.43</c:v>
                </c:pt>
                <c:pt idx="5198">
                  <c:v>24.55</c:v>
                </c:pt>
                <c:pt idx="5199">
                  <c:v>25.040000000000003</c:v>
                </c:pt>
                <c:pt idx="5200">
                  <c:v>25.879999999999995</c:v>
                </c:pt>
                <c:pt idx="5201">
                  <c:v>26.67</c:v>
                </c:pt>
                <c:pt idx="5202">
                  <c:v>26.78</c:v>
                </c:pt>
                <c:pt idx="5203">
                  <c:v>26.69</c:v>
                </c:pt>
                <c:pt idx="5204">
                  <c:v>27.3</c:v>
                </c:pt>
                <c:pt idx="5205">
                  <c:v>26.68</c:v>
                </c:pt>
                <c:pt idx="5206">
                  <c:v>25.24</c:v>
                </c:pt>
                <c:pt idx="5207">
                  <c:v>24.91</c:v>
                </c:pt>
                <c:pt idx="5208">
                  <c:v>20.569999999999997</c:v>
                </c:pt>
                <c:pt idx="5209">
                  <c:v>18.03</c:v>
                </c:pt>
                <c:pt idx="5210">
                  <c:v>16.59</c:v>
                </c:pt>
                <c:pt idx="5211">
                  <c:v>13.69</c:v>
                </c:pt>
                <c:pt idx="5212">
                  <c:v>10.870000000000001</c:v>
                </c:pt>
                <c:pt idx="5213">
                  <c:v>10.75</c:v>
                </c:pt>
                <c:pt idx="5214">
                  <c:v>16.25</c:v>
                </c:pt>
                <c:pt idx="5215">
                  <c:v>20.240000000000002</c:v>
                </c:pt>
                <c:pt idx="5216">
                  <c:v>20.789999999999996</c:v>
                </c:pt>
                <c:pt idx="5217">
                  <c:v>21.304988359459877</c:v>
                </c:pt>
                <c:pt idx="5218">
                  <c:v>15.318936383172893</c:v>
                </c:pt>
                <c:pt idx="5219">
                  <c:v>15.964032200143643</c:v>
                </c:pt>
                <c:pt idx="5220">
                  <c:v>12.568427072530957</c:v>
                </c:pt>
                <c:pt idx="5221">
                  <c:v>17.62206008583691</c:v>
                </c:pt>
                <c:pt idx="5222">
                  <c:v>16.421814939880708</c:v>
                </c:pt>
                <c:pt idx="5223">
                  <c:v>14.713045141545523</c:v>
                </c:pt>
                <c:pt idx="5224">
                  <c:v>20.171013046815045</c:v>
                </c:pt>
                <c:pt idx="5225">
                  <c:v>28.046956936278409</c:v>
                </c:pt>
                <c:pt idx="5226">
                  <c:v>32.940000000000005</c:v>
                </c:pt>
                <c:pt idx="5227">
                  <c:v>34.950000000000003</c:v>
                </c:pt>
                <c:pt idx="5228">
                  <c:v>36.049999999999997</c:v>
                </c:pt>
                <c:pt idx="5229">
                  <c:v>36.069999999999993</c:v>
                </c:pt>
                <c:pt idx="5230">
                  <c:v>34.94</c:v>
                </c:pt>
                <c:pt idx="5231">
                  <c:v>31.099999999999998</c:v>
                </c:pt>
                <c:pt idx="5232">
                  <c:v>28.000000000000004</c:v>
                </c:pt>
                <c:pt idx="5233">
                  <c:v>25.279999999999998</c:v>
                </c:pt>
                <c:pt idx="5234">
                  <c:v>24.8</c:v>
                </c:pt>
                <c:pt idx="5235">
                  <c:v>24.859999999999996</c:v>
                </c:pt>
                <c:pt idx="5236">
                  <c:v>28.279999999999998</c:v>
                </c:pt>
                <c:pt idx="5237">
                  <c:v>35.18</c:v>
                </c:pt>
                <c:pt idx="5238">
                  <c:v>37.93</c:v>
                </c:pt>
                <c:pt idx="5239">
                  <c:v>37.85</c:v>
                </c:pt>
                <c:pt idx="5240">
                  <c:v>36.420000000000009</c:v>
                </c:pt>
                <c:pt idx="5241">
                  <c:v>34.08</c:v>
                </c:pt>
                <c:pt idx="5242">
                  <c:v>33.14</c:v>
                </c:pt>
                <c:pt idx="5243">
                  <c:v>29.029999999999998</c:v>
                </c:pt>
                <c:pt idx="5244">
                  <c:v>26.933802251436667</c:v>
                </c:pt>
                <c:pt idx="5245">
                  <c:v>27.523636775875744</c:v>
                </c:pt>
                <c:pt idx="5246">
                  <c:v>29.04</c:v>
                </c:pt>
                <c:pt idx="5247">
                  <c:v>32.65</c:v>
                </c:pt>
                <c:pt idx="5248">
                  <c:v>36.950000000000003</c:v>
                </c:pt>
                <c:pt idx="5249">
                  <c:v>42.16</c:v>
                </c:pt>
                <c:pt idx="5250">
                  <c:v>45.110000000000007</c:v>
                </c:pt>
                <c:pt idx="5251">
                  <c:v>44.9</c:v>
                </c:pt>
                <c:pt idx="5252">
                  <c:v>39.939999999999991</c:v>
                </c:pt>
                <c:pt idx="5253">
                  <c:v>35.92</c:v>
                </c:pt>
                <c:pt idx="5254">
                  <c:v>29.94</c:v>
                </c:pt>
                <c:pt idx="5255">
                  <c:v>28.09</c:v>
                </c:pt>
                <c:pt idx="5256">
                  <c:v>26.860000000000003</c:v>
                </c:pt>
                <c:pt idx="5257">
                  <c:v>25.34</c:v>
                </c:pt>
                <c:pt idx="5258">
                  <c:v>24.59</c:v>
                </c:pt>
                <c:pt idx="5259">
                  <c:v>24.639999999999997</c:v>
                </c:pt>
                <c:pt idx="5260">
                  <c:v>26.960000000000004</c:v>
                </c:pt>
                <c:pt idx="5261">
                  <c:v>31</c:v>
                </c:pt>
                <c:pt idx="5262">
                  <c:v>35</c:v>
                </c:pt>
                <c:pt idx="5263">
                  <c:v>36.51</c:v>
                </c:pt>
                <c:pt idx="5264">
                  <c:v>37.06</c:v>
                </c:pt>
                <c:pt idx="5265">
                  <c:v>36.20000000000001</c:v>
                </c:pt>
                <c:pt idx="5266">
                  <c:v>36.379999999999995</c:v>
                </c:pt>
                <c:pt idx="5267">
                  <c:v>34.74</c:v>
                </c:pt>
                <c:pt idx="5268">
                  <c:v>31.51</c:v>
                </c:pt>
                <c:pt idx="5269">
                  <c:v>29.56</c:v>
                </c:pt>
                <c:pt idx="5270">
                  <c:v>30.95</c:v>
                </c:pt>
                <c:pt idx="5271">
                  <c:v>31.329999999999995</c:v>
                </c:pt>
                <c:pt idx="5272">
                  <c:v>32.36</c:v>
                </c:pt>
                <c:pt idx="5273">
                  <c:v>33.090000000000003</c:v>
                </c:pt>
                <c:pt idx="5274">
                  <c:v>30.089999999999996</c:v>
                </c:pt>
                <c:pt idx="5275">
                  <c:v>28.77</c:v>
                </c:pt>
                <c:pt idx="5276">
                  <c:v>28.52</c:v>
                </c:pt>
                <c:pt idx="5277">
                  <c:v>26.16</c:v>
                </c:pt>
                <c:pt idx="5278">
                  <c:v>24.68</c:v>
                </c:pt>
                <c:pt idx="5279">
                  <c:v>25.000000000000004</c:v>
                </c:pt>
                <c:pt idx="5280">
                  <c:v>23.060000000000002</c:v>
                </c:pt>
                <c:pt idx="5281">
                  <c:v>21.120000000000005</c:v>
                </c:pt>
                <c:pt idx="5282">
                  <c:v>19.079999999999995</c:v>
                </c:pt>
                <c:pt idx="5283">
                  <c:v>19.094952135789562</c:v>
                </c:pt>
                <c:pt idx="5284">
                  <c:v>24.563353517647997</c:v>
                </c:pt>
                <c:pt idx="5285">
                  <c:v>25.869999999999997</c:v>
                </c:pt>
                <c:pt idx="5286">
                  <c:v>27.289999999999996</c:v>
                </c:pt>
                <c:pt idx="5287">
                  <c:v>32.56</c:v>
                </c:pt>
                <c:pt idx="5288">
                  <c:v>32.35</c:v>
                </c:pt>
                <c:pt idx="5289">
                  <c:v>31.49</c:v>
                </c:pt>
                <c:pt idx="5290">
                  <c:v>30.590000000000003</c:v>
                </c:pt>
                <c:pt idx="5291">
                  <c:v>27.74</c:v>
                </c:pt>
                <c:pt idx="5292">
                  <c:v>26.56</c:v>
                </c:pt>
                <c:pt idx="5293">
                  <c:v>27.090000000000003</c:v>
                </c:pt>
                <c:pt idx="5294">
                  <c:v>26.711220011515575</c:v>
                </c:pt>
                <c:pt idx="5295">
                  <c:v>26.617406956944784</c:v>
                </c:pt>
                <c:pt idx="5296">
                  <c:v>32.07</c:v>
                </c:pt>
                <c:pt idx="5297">
                  <c:v>30.73</c:v>
                </c:pt>
                <c:pt idx="5298">
                  <c:v>30.95</c:v>
                </c:pt>
                <c:pt idx="5299">
                  <c:v>29.9</c:v>
                </c:pt>
                <c:pt idx="5300">
                  <c:v>30.1</c:v>
                </c:pt>
                <c:pt idx="5301">
                  <c:v>28.68</c:v>
                </c:pt>
                <c:pt idx="5302">
                  <c:v>26.019999999999996</c:v>
                </c:pt>
                <c:pt idx="5303">
                  <c:v>27.05</c:v>
                </c:pt>
                <c:pt idx="5304">
                  <c:v>26</c:v>
                </c:pt>
                <c:pt idx="5305">
                  <c:v>25.41</c:v>
                </c:pt>
                <c:pt idx="5306">
                  <c:v>25.58</c:v>
                </c:pt>
                <c:pt idx="5307">
                  <c:v>25.39</c:v>
                </c:pt>
                <c:pt idx="5308">
                  <c:v>27.76</c:v>
                </c:pt>
                <c:pt idx="5309">
                  <c:v>33.570000000000007</c:v>
                </c:pt>
                <c:pt idx="5310">
                  <c:v>36.81</c:v>
                </c:pt>
                <c:pt idx="5311">
                  <c:v>40.880000000000003</c:v>
                </c:pt>
                <c:pt idx="5312">
                  <c:v>41.95000000000001</c:v>
                </c:pt>
                <c:pt idx="5313">
                  <c:v>41.949999999999996</c:v>
                </c:pt>
                <c:pt idx="5314">
                  <c:v>41.929999999999993</c:v>
                </c:pt>
                <c:pt idx="5315">
                  <c:v>41.63000000000001</c:v>
                </c:pt>
                <c:pt idx="5316">
                  <c:v>40.949999999999996</c:v>
                </c:pt>
                <c:pt idx="5317">
                  <c:v>39.200000000000003</c:v>
                </c:pt>
                <c:pt idx="5318">
                  <c:v>37.880000000000003</c:v>
                </c:pt>
                <c:pt idx="5319">
                  <c:v>36.24</c:v>
                </c:pt>
                <c:pt idx="5320">
                  <c:v>37.049999999999997</c:v>
                </c:pt>
                <c:pt idx="5321">
                  <c:v>38</c:v>
                </c:pt>
                <c:pt idx="5322">
                  <c:v>39.61</c:v>
                </c:pt>
                <c:pt idx="5323">
                  <c:v>35.99</c:v>
                </c:pt>
                <c:pt idx="5324">
                  <c:v>35.56</c:v>
                </c:pt>
                <c:pt idx="5325">
                  <c:v>34.78</c:v>
                </c:pt>
                <c:pt idx="5326">
                  <c:v>30.97</c:v>
                </c:pt>
                <c:pt idx="5327">
                  <c:v>28.990000000000002</c:v>
                </c:pt>
                <c:pt idx="5328">
                  <c:v>28.129999999999995</c:v>
                </c:pt>
                <c:pt idx="5329">
                  <c:v>27.029999999999998</c:v>
                </c:pt>
                <c:pt idx="5330">
                  <c:v>26.289999999999996</c:v>
                </c:pt>
                <c:pt idx="5331">
                  <c:v>26.12</c:v>
                </c:pt>
                <c:pt idx="5332">
                  <c:v>28.11</c:v>
                </c:pt>
                <c:pt idx="5333">
                  <c:v>31.789999999999992</c:v>
                </c:pt>
                <c:pt idx="5334">
                  <c:v>40.75</c:v>
                </c:pt>
                <c:pt idx="5335">
                  <c:v>46.98</c:v>
                </c:pt>
                <c:pt idx="5336">
                  <c:v>49.679999999999993</c:v>
                </c:pt>
                <c:pt idx="5337">
                  <c:v>51.18</c:v>
                </c:pt>
                <c:pt idx="5338">
                  <c:v>61.36</c:v>
                </c:pt>
                <c:pt idx="5339">
                  <c:v>52.649999999999991</c:v>
                </c:pt>
                <c:pt idx="5340">
                  <c:v>46.800000000000004</c:v>
                </c:pt>
                <c:pt idx="5341">
                  <c:v>39.090000000000011</c:v>
                </c:pt>
                <c:pt idx="5342">
                  <c:v>39.01</c:v>
                </c:pt>
                <c:pt idx="5343">
                  <c:v>36.880000000000003</c:v>
                </c:pt>
                <c:pt idx="5344">
                  <c:v>37.42</c:v>
                </c:pt>
                <c:pt idx="5345">
                  <c:v>38.08</c:v>
                </c:pt>
                <c:pt idx="5346">
                  <c:v>36.21</c:v>
                </c:pt>
                <c:pt idx="5347">
                  <c:v>34.32</c:v>
                </c:pt>
                <c:pt idx="5348">
                  <c:v>34.61</c:v>
                </c:pt>
                <c:pt idx="5349">
                  <c:v>33.36</c:v>
                </c:pt>
                <c:pt idx="5350">
                  <c:v>30.709999999999997</c:v>
                </c:pt>
                <c:pt idx="5351">
                  <c:v>25.63</c:v>
                </c:pt>
                <c:pt idx="5352">
                  <c:v>23.147635705669483</c:v>
                </c:pt>
                <c:pt idx="5353">
                  <c:v>21.230000000000004</c:v>
                </c:pt>
                <c:pt idx="5354">
                  <c:v>20.719999999999995</c:v>
                </c:pt>
                <c:pt idx="5355">
                  <c:v>19.309999999999999</c:v>
                </c:pt>
                <c:pt idx="5356">
                  <c:v>17.589999999999996</c:v>
                </c:pt>
                <c:pt idx="5357">
                  <c:v>20.369999999999997</c:v>
                </c:pt>
                <c:pt idx="5358">
                  <c:v>23.66</c:v>
                </c:pt>
                <c:pt idx="5359">
                  <c:v>24.370000000000005</c:v>
                </c:pt>
                <c:pt idx="5360">
                  <c:v>25.840000000000003</c:v>
                </c:pt>
                <c:pt idx="5361">
                  <c:v>25.560000000000002</c:v>
                </c:pt>
                <c:pt idx="5362">
                  <c:v>25.67</c:v>
                </c:pt>
                <c:pt idx="5363">
                  <c:v>25.1</c:v>
                </c:pt>
                <c:pt idx="5364">
                  <c:v>24.98</c:v>
                </c:pt>
                <c:pt idx="5365">
                  <c:v>24.96</c:v>
                </c:pt>
                <c:pt idx="5366">
                  <c:v>24.259999999999998</c:v>
                </c:pt>
                <c:pt idx="5367">
                  <c:v>24.87</c:v>
                </c:pt>
                <c:pt idx="5368">
                  <c:v>24.909999999999997</c:v>
                </c:pt>
                <c:pt idx="5369">
                  <c:v>25.419999999999998</c:v>
                </c:pt>
                <c:pt idx="5370">
                  <c:v>25.44</c:v>
                </c:pt>
                <c:pt idx="5371">
                  <c:v>25.67</c:v>
                </c:pt>
                <c:pt idx="5372">
                  <c:v>25.54</c:v>
                </c:pt>
                <c:pt idx="5373">
                  <c:v>24.02</c:v>
                </c:pt>
                <c:pt idx="5374">
                  <c:v>22.39</c:v>
                </c:pt>
                <c:pt idx="5375">
                  <c:v>23.66</c:v>
                </c:pt>
                <c:pt idx="5376">
                  <c:v>21.66</c:v>
                </c:pt>
                <c:pt idx="5377">
                  <c:v>20.420000000000005</c:v>
                </c:pt>
                <c:pt idx="5378">
                  <c:v>18.090000000000003</c:v>
                </c:pt>
                <c:pt idx="5379">
                  <c:v>13.67</c:v>
                </c:pt>
                <c:pt idx="5380">
                  <c:v>12.34</c:v>
                </c:pt>
                <c:pt idx="5381">
                  <c:v>12.160000000000002</c:v>
                </c:pt>
                <c:pt idx="5382">
                  <c:v>18.010000000000002</c:v>
                </c:pt>
                <c:pt idx="5383">
                  <c:v>21.28</c:v>
                </c:pt>
                <c:pt idx="5384">
                  <c:v>21.02</c:v>
                </c:pt>
                <c:pt idx="5385">
                  <c:v>19.689999999999998</c:v>
                </c:pt>
                <c:pt idx="5386">
                  <c:v>21.09</c:v>
                </c:pt>
                <c:pt idx="5387">
                  <c:v>19.329999999999995</c:v>
                </c:pt>
                <c:pt idx="5388">
                  <c:v>16.07</c:v>
                </c:pt>
                <c:pt idx="5389">
                  <c:v>13.24</c:v>
                </c:pt>
                <c:pt idx="5390">
                  <c:v>23.68</c:v>
                </c:pt>
                <c:pt idx="5391">
                  <c:v>13.156664359861594</c:v>
                </c:pt>
                <c:pt idx="5392">
                  <c:v>22.330901004558129</c:v>
                </c:pt>
                <c:pt idx="5393">
                  <c:v>28.164367072990181</c:v>
                </c:pt>
                <c:pt idx="5394">
                  <c:v>33</c:v>
                </c:pt>
                <c:pt idx="5395">
                  <c:v>34.979999999999997</c:v>
                </c:pt>
                <c:pt idx="5396">
                  <c:v>36.47</c:v>
                </c:pt>
                <c:pt idx="5397">
                  <c:v>35.800000000000004</c:v>
                </c:pt>
                <c:pt idx="5398">
                  <c:v>32</c:v>
                </c:pt>
                <c:pt idx="5399">
                  <c:v>28.69</c:v>
                </c:pt>
                <c:pt idx="5400">
                  <c:v>26.369999999999997</c:v>
                </c:pt>
                <c:pt idx="5401">
                  <c:v>25.240000000000002</c:v>
                </c:pt>
                <c:pt idx="5402">
                  <c:v>25.17</c:v>
                </c:pt>
                <c:pt idx="5403">
                  <c:v>25.280000000000005</c:v>
                </c:pt>
                <c:pt idx="5404">
                  <c:v>27.64</c:v>
                </c:pt>
                <c:pt idx="5405">
                  <c:v>32.9</c:v>
                </c:pt>
                <c:pt idx="5406">
                  <c:v>37.9</c:v>
                </c:pt>
                <c:pt idx="5407">
                  <c:v>39.39</c:v>
                </c:pt>
                <c:pt idx="5408">
                  <c:v>38.229999999999997</c:v>
                </c:pt>
                <c:pt idx="5409">
                  <c:v>39.11999999999999</c:v>
                </c:pt>
                <c:pt idx="5410">
                  <c:v>39.220000000000006</c:v>
                </c:pt>
                <c:pt idx="5411">
                  <c:v>39.020000000000003</c:v>
                </c:pt>
                <c:pt idx="5412">
                  <c:v>39.129999999999995</c:v>
                </c:pt>
                <c:pt idx="5413">
                  <c:v>37.799999999999997</c:v>
                </c:pt>
                <c:pt idx="5414">
                  <c:v>36.99</c:v>
                </c:pt>
                <c:pt idx="5415">
                  <c:v>34.954634061741238</c:v>
                </c:pt>
                <c:pt idx="5416">
                  <c:v>37.07</c:v>
                </c:pt>
                <c:pt idx="5417">
                  <c:v>39.639999999999993</c:v>
                </c:pt>
                <c:pt idx="5418">
                  <c:v>41.96</c:v>
                </c:pt>
                <c:pt idx="5419">
                  <c:v>38.39</c:v>
                </c:pt>
                <c:pt idx="5420">
                  <c:v>36.74</c:v>
                </c:pt>
                <c:pt idx="5421">
                  <c:v>31.569999999999997</c:v>
                </c:pt>
                <c:pt idx="5422">
                  <c:v>26.820000000000004</c:v>
                </c:pt>
                <c:pt idx="5423">
                  <c:v>24.629805347593582</c:v>
                </c:pt>
                <c:pt idx="5424">
                  <c:v>23.845583568789394</c:v>
                </c:pt>
                <c:pt idx="5425">
                  <c:v>22.856565043552763</c:v>
                </c:pt>
                <c:pt idx="5426">
                  <c:v>24.273955669816562</c:v>
                </c:pt>
                <c:pt idx="5427">
                  <c:v>24.147020994893136</c:v>
                </c:pt>
                <c:pt idx="5428">
                  <c:v>22.617289361702127</c:v>
                </c:pt>
                <c:pt idx="5429">
                  <c:v>27.616499825804205</c:v>
                </c:pt>
                <c:pt idx="5430">
                  <c:v>35</c:v>
                </c:pt>
                <c:pt idx="5431">
                  <c:v>29.975374035011416</c:v>
                </c:pt>
                <c:pt idx="5432">
                  <c:v>28.575793689717184</c:v>
                </c:pt>
                <c:pt idx="5433">
                  <c:v>28.22752933646256</c:v>
                </c:pt>
                <c:pt idx="5434">
                  <c:v>27.942491767288693</c:v>
                </c:pt>
                <c:pt idx="5435">
                  <c:v>28.071937180149298</c:v>
                </c:pt>
                <c:pt idx="5436">
                  <c:v>28.26224156538877</c:v>
                </c:pt>
                <c:pt idx="5437">
                  <c:v>28.47389051951864</c:v>
                </c:pt>
                <c:pt idx="5438">
                  <c:v>31.309999999999995</c:v>
                </c:pt>
                <c:pt idx="5439">
                  <c:v>30.42</c:v>
                </c:pt>
                <c:pt idx="5440">
                  <c:v>31.409842453861486</c:v>
                </c:pt>
                <c:pt idx="5441">
                  <c:v>35.169241544926955</c:v>
                </c:pt>
                <c:pt idx="5442">
                  <c:v>35.29999999999999</c:v>
                </c:pt>
                <c:pt idx="5443">
                  <c:v>35.359999999999992</c:v>
                </c:pt>
                <c:pt idx="5444">
                  <c:v>34.950000000000003</c:v>
                </c:pt>
                <c:pt idx="5445">
                  <c:v>29.04</c:v>
                </c:pt>
                <c:pt idx="5446">
                  <c:v>27.1</c:v>
                </c:pt>
                <c:pt idx="5447">
                  <c:v>26.66</c:v>
                </c:pt>
                <c:pt idx="5448">
                  <c:v>26.06</c:v>
                </c:pt>
                <c:pt idx="5449">
                  <c:v>25.84</c:v>
                </c:pt>
                <c:pt idx="5450">
                  <c:v>25.83</c:v>
                </c:pt>
                <c:pt idx="5451">
                  <c:v>26.05</c:v>
                </c:pt>
                <c:pt idx="5452">
                  <c:v>27.419999999999998</c:v>
                </c:pt>
                <c:pt idx="5453">
                  <c:v>34.139999999999993</c:v>
                </c:pt>
                <c:pt idx="5454">
                  <c:v>37.609999999999992</c:v>
                </c:pt>
                <c:pt idx="5455">
                  <c:v>42</c:v>
                </c:pt>
                <c:pt idx="5456">
                  <c:v>42.39</c:v>
                </c:pt>
                <c:pt idx="5457">
                  <c:v>41.930000000000007</c:v>
                </c:pt>
                <c:pt idx="5458">
                  <c:v>41.92</c:v>
                </c:pt>
                <c:pt idx="5459">
                  <c:v>40.32</c:v>
                </c:pt>
                <c:pt idx="5460">
                  <c:v>40.03</c:v>
                </c:pt>
                <c:pt idx="5461">
                  <c:v>38.47</c:v>
                </c:pt>
                <c:pt idx="5462">
                  <c:v>35.349999999999994</c:v>
                </c:pt>
                <c:pt idx="5463">
                  <c:v>37.159999999999997</c:v>
                </c:pt>
                <c:pt idx="5464">
                  <c:v>39.940000000000005</c:v>
                </c:pt>
                <c:pt idx="5465">
                  <c:v>41.93</c:v>
                </c:pt>
                <c:pt idx="5466">
                  <c:v>43.150000000000006</c:v>
                </c:pt>
                <c:pt idx="5467">
                  <c:v>41.95</c:v>
                </c:pt>
                <c:pt idx="5468">
                  <c:v>40.1</c:v>
                </c:pt>
                <c:pt idx="5469">
                  <c:v>36.020000000000003</c:v>
                </c:pt>
                <c:pt idx="5470">
                  <c:v>32</c:v>
                </c:pt>
                <c:pt idx="5471">
                  <c:v>29.825606500290192</c:v>
                </c:pt>
                <c:pt idx="5472">
                  <c:v>28.443745567375885</c:v>
                </c:pt>
                <c:pt idx="5473">
                  <c:v>26.962869649805448</c:v>
                </c:pt>
                <c:pt idx="5474">
                  <c:v>26.832682119205298</c:v>
                </c:pt>
                <c:pt idx="5475">
                  <c:v>26.969418163420187</c:v>
                </c:pt>
                <c:pt idx="5476">
                  <c:v>30.42</c:v>
                </c:pt>
                <c:pt idx="5477">
                  <c:v>34.17315860578222</c:v>
                </c:pt>
                <c:pt idx="5478">
                  <c:v>47.35</c:v>
                </c:pt>
                <c:pt idx="5479">
                  <c:v>47.32</c:v>
                </c:pt>
                <c:pt idx="5480">
                  <c:v>50.040000000000006</c:v>
                </c:pt>
                <c:pt idx="5481">
                  <c:v>50.06</c:v>
                </c:pt>
                <c:pt idx="5482">
                  <c:v>53.88</c:v>
                </c:pt>
                <c:pt idx="5483">
                  <c:v>50.36</c:v>
                </c:pt>
                <c:pt idx="5484">
                  <c:v>50.01</c:v>
                </c:pt>
                <c:pt idx="5485">
                  <c:v>40.408573164381188</c:v>
                </c:pt>
                <c:pt idx="5486">
                  <c:v>38.809229232086778</c:v>
                </c:pt>
                <c:pt idx="5487">
                  <c:v>36.259999999999991</c:v>
                </c:pt>
                <c:pt idx="5488">
                  <c:v>35.514311046893475</c:v>
                </c:pt>
                <c:pt idx="5489">
                  <c:v>37.42</c:v>
                </c:pt>
                <c:pt idx="5490">
                  <c:v>38.040000000000006</c:v>
                </c:pt>
                <c:pt idx="5491">
                  <c:v>37.450000000000003</c:v>
                </c:pt>
                <c:pt idx="5492">
                  <c:v>36.71</c:v>
                </c:pt>
                <c:pt idx="5493">
                  <c:v>31.73</c:v>
                </c:pt>
                <c:pt idx="5494">
                  <c:v>29.09</c:v>
                </c:pt>
                <c:pt idx="5495">
                  <c:v>28.5</c:v>
                </c:pt>
                <c:pt idx="5496">
                  <c:v>28.29</c:v>
                </c:pt>
                <c:pt idx="5497">
                  <c:v>27.279999999999998</c:v>
                </c:pt>
                <c:pt idx="5498">
                  <c:v>26.349999999999998</c:v>
                </c:pt>
                <c:pt idx="5499">
                  <c:v>27.700000000000003</c:v>
                </c:pt>
                <c:pt idx="5500">
                  <c:v>28.61</c:v>
                </c:pt>
                <c:pt idx="5501">
                  <c:v>33.630000000000003</c:v>
                </c:pt>
                <c:pt idx="5502">
                  <c:v>38.86</c:v>
                </c:pt>
                <c:pt idx="5503">
                  <c:v>43.29</c:v>
                </c:pt>
                <c:pt idx="5504">
                  <c:v>44.47</c:v>
                </c:pt>
                <c:pt idx="5505">
                  <c:v>48.01</c:v>
                </c:pt>
                <c:pt idx="5506">
                  <c:v>48.05</c:v>
                </c:pt>
                <c:pt idx="5507">
                  <c:v>40.96</c:v>
                </c:pt>
                <c:pt idx="5508">
                  <c:v>33.755137351608653</c:v>
                </c:pt>
                <c:pt idx="5509">
                  <c:v>31.641483189241114</c:v>
                </c:pt>
                <c:pt idx="5510">
                  <c:v>32.183914715374577</c:v>
                </c:pt>
                <c:pt idx="5511">
                  <c:v>33.89</c:v>
                </c:pt>
                <c:pt idx="5512">
                  <c:v>35.71</c:v>
                </c:pt>
                <c:pt idx="5513">
                  <c:v>37.43</c:v>
                </c:pt>
                <c:pt idx="5514">
                  <c:v>38.700000000000003</c:v>
                </c:pt>
                <c:pt idx="5515">
                  <c:v>36.989999999999995</c:v>
                </c:pt>
                <c:pt idx="5516">
                  <c:v>37.02000000000001</c:v>
                </c:pt>
                <c:pt idx="5517">
                  <c:v>34.950000000000003</c:v>
                </c:pt>
                <c:pt idx="5518">
                  <c:v>29.450000000000003</c:v>
                </c:pt>
                <c:pt idx="5519">
                  <c:v>24.463155893536118</c:v>
                </c:pt>
                <c:pt idx="5520">
                  <c:v>24.1175975629837</c:v>
                </c:pt>
                <c:pt idx="5521">
                  <c:v>25.221342603692158</c:v>
                </c:pt>
                <c:pt idx="5522">
                  <c:v>24.667808922226609</c:v>
                </c:pt>
                <c:pt idx="5523">
                  <c:v>24.25231252806466</c:v>
                </c:pt>
                <c:pt idx="5524">
                  <c:v>23.864642079170736</c:v>
                </c:pt>
                <c:pt idx="5525">
                  <c:v>24.531783230145987</c:v>
                </c:pt>
                <c:pt idx="5526">
                  <c:v>26.187150190557674</c:v>
                </c:pt>
                <c:pt idx="5527">
                  <c:v>26.621927912824813</c:v>
                </c:pt>
                <c:pt idx="5528">
                  <c:v>27.846015747084984</c:v>
                </c:pt>
                <c:pt idx="5529">
                  <c:v>27.759171974522292</c:v>
                </c:pt>
                <c:pt idx="5530">
                  <c:v>16.755361139369278</c:v>
                </c:pt>
                <c:pt idx="5531">
                  <c:v>11.351228174266826</c:v>
                </c:pt>
                <c:pt idx="5532">
                  <c:v>5.2823763074879633</c:v>
                </c:pt>
                <c:pt idx="5533">
                  <c:v>2.9720331325301199</c:v>
                </c:pt>
                <c:pt idx="5534">
                  <c:v>5.7555979454349195</c:v>
                </c:pt>
                <c:pt idx="5535">
                  <c:v>11.927577889447237</c:v>
                </c:pt>
                <c:pt idx="5536">
                  <c:v>13.942244284640978</c:v>
                </c:pt>
                <c:pt idx="5537">
                  <c:v>22.819456916409642</c:v>
                </c:pt>
                <c:pt idx="5538">
                  <c:v>26.668632986627046</c:v>
                </c:pt>
                <c:pt idx="5539">
                  <c:v>26.63</c:v>
                </c:pt>
                <c:pt idx="5540">
                  <c:v>27</c:v>
                </c:pt>
                <c:pt idx="5541">
                  <c:v>25.33</c:v>
                </c:pt>
                <c:pt idx="5542">
                  <c:v>21.20376366917932</c:v>
                </c:pt>
                <c:pt idx="5543">
                  <c:v>14.177846321469337</c:v>
                </c:pt>
                <c:pt idx="5544">
                  <c:v>13.140240431117865</c:v>
                </c:pt>
                <c:pt idx="5545">
                  <c:v>12.606847042473724</c:v>
                </c:pt>
                <c:pt idx="5546">
                  <c:v>12.230104569420035</c:v>
                </c:pt>
                <c:pt idx="5547">
                  <c:v>9.1536905992896642</c:v>
                </c:pt>
                <c:pt idx="5548">
                  <c:v>11.018107770582793</c:v>
                </c:pt>
                <c:pt idx="5549">
                  <c:v>11.159792180017668</c:v>
                </c:pt>
                <c:pt idx="5550">
                  <c:v>23.25</c:v>
                </c:pt>
                <c:pt idx="5551">
                  <c:v>24.069999999999997</c:v>
                </c:pt>
                <c:pt idx="5552">
                  <c:v>24.936217469963356</c:v>
                </c:pt>
                <c:pt idx="5553">
                  <c:v>25.485733917375246</c:v>
                </c:pt>
                <c:pt idx="5554">
                  <c:v>25.807662888917186</c:v>
                </c:pt>
                <c:pt idx="5555">
                  <c:v>25.871907577019151</c:v>
                </c:pt>
                <c:pt idx="5556">
                  <c:v>22.628843516330249</c:v>
                </c:pt>
                <c:pt idx="5557">
                  <c:v>6.287668883724657</c:v>
                </c:pt>
                <c:pt idx="5558">
                  <c:v>1.1747959642171473</c:v>
                </c:pt>
                <c:pt idx="5559">
                  <c:v>6.8033314036509598</c:v>
                </c:pt>
                <c:pt idx="5560">
                  <c:v>13.949115663804855</c:v>
                </c:pt>
                <c:pt idx="5561">
                  <c:v>25.096340023612751</c:v>
                </c:pt>
                <c:pt idx="5562">
                  <c:v>26.751749269866181</c:v>
                </c:pt>
                <c:pt idx="5563">
                  <c:v>28.499999999999996</c:v>
                </c:pt>
                <c:pt idx="5564">
                  <c:v>30.569999999999997</c:v>
                </c:pt>
                <c:pt idx="5565">
                  <c:v>29.060000000000002</c:v>
                </c:pt>
                <c:pt idx="5566">
                  <c:v>24.012839332129168</c:v>
                </c:pt>
                <c:pt idx="5567">
                  <c:v>20.795256149354095</c:v>
                </c:pt>
                <c:pt idx="5568">
                  <c:v>15.244265834528127</c:v>
                </c:pt>
                <c:pt idx="5569">
                  <c:v>14.135764710983914</c:v>
                </c:pt>
                <c:pt idx="5570">
                  <c:v>13.282987972146023</c:v>
                </c:pt>
                <c:pt idx="5571">
                  <c:v>13.133884294218705</c:v>
                </c:pt>
                <c:pt idx="5572">
                  <c:v>21.183587081891581</c:v>
                </c:pt>
                <c:pt idx="5573">
                  <c:v>30.127649046584597</c:v>
                </c:pt>
                <c:pt idx="5574">
                  <c:v>35.888377524727787</c:v>
                </c:pt>
                <c:pt idx="5575">
                  <c:v>38.109446948471188</c:v>
                </c:pt>
                <c:pt idx="5576">
                  <c:v>37.775090766208251</c:v>
                </c:pt>
                <c:pt idx="5577">
                  <c:v>37.123949528265705</c:v>
                </c:pt>
                <c:pt idx="5578">
                  <c:v>35.394397131331246</c:v>
                </c:pt>
                <c:pt idx="5579">
                  <c:v>35.371442885771543</c:v>
                </c:pt>
                <c:pt idx="5580">
                  <c:v>34.515846907885248</c:v>
                </c:pt>
                <c:pt idx="5581">
                  <c:v>33.006739226519336</c:v>
                </c:pt>
                <c:pt idx="5582">
                  <c:v>33.99731516209291</c:v>
                </c:pt>
                <c:pt idx="5583">
                  <c:v>34.291879008746356</c:v>
                </c:pt>
                <c:pt idx="5584">
                  <c:v>45.030000000000008</c:v>
                </c:pt>
                <c:pt idx="5585">
                  <c:v>40.008634173315428</c:v>
                </c:pt>
                <c:pt idx="5586">
                  <c:v>41.860000000000007</c:v>
                </c:pt>
                <c:pt idx="5587">
                  <c:v>41.01</c:v>
                </c:pt>
                <c:pt idx="5588">
                  <c:v>40.31</c:v>
                </c:pt>
                <c:pt idx="5589">
                  <c:v>36.99</c:v>
                </c:pt>
                <c:pt idx="5590">
                  <c:v>31.240000000000002</c:v>
                </c:pt>
                <c:pt idx="5591">
                  <c:v>31.979999999999997</c:v>
                </c:pt>
                <c:pt idx="5592">
                  <c:v>29.700000000000003</c:v>
                </c:pt>
                <c:pt idx="5593">
                  <c:v>29.53</c:v>
                </c:pt>
                <c:pt idx="5594">
                  <c:v>27.899999999999995</c:v>
                </c:pt>
                <c:pt idx="5595">
                  <c:v>27.78</c:v>
                </c:pt>
                <c:pt idx="5596">
                  <c:v>31.78</c:v>
                </c:pt>
                <c:pt idx="5597">
                  <c:v>37.709999999999994</c:v>
                </c:pt>
                <c:pt idx="5598">
                  <c:v>48.040000000000006</c:v>
                </c:pt>
                <c:pt idx="5599">
                  <c:v>57.35</c:v>
                </c:pt>
                <c:pt idx="5600">
                  <c:v>57.39</c:v>
                </c:pt>
                <c:pt idx="5601">
                  <c:v>59.95</c:v>
                </c:pt>
                <c:pt idx="5602">
                  <c:v>59.98</c:v>
                </c:pt>
                <c:pt idx="5603">
                  <c:v>59.92</c:v>
                </c:pt>
                <c:pt idx="5604">
                  <c:v>57.39</c:v>
                </c:pt>
                <c:pt idx="5605">
                  <c:v>57.339999999999996</c:v>
                </c:pt>
                <c:pt idx="5606">
                  <c:v>50.02000000000001</c:v>
                </c:pt>
                <c:pt idx="5607">
                  <c:v>39.04</c:v>
                </c:pt>
                <c:pt idx="5608">
                  <c:v>45.08</c:v>
                </c:pt>
                <c:pt idx="5609">
                  <c:v>44.710000000000008</c:v>
                </c:pt>
                <c:pt idx="5610">
                  <c:v>48.17</c:v>
                </c:pt>
                <c:pt idx="5611">
                  <c:v>45.069999999999993</c:v>
                </c:pt>
                <c:pt idx="5612">
                  <c:v>43.38000000000001</c:v>
                </c:pt>
                <c:pt idx="5613">
                  <c:v>38.809999999999995</c:v>
                </c:pt>
                <c:pt idx="5614">
                  <c:v>34.849999999999994</c:v>
                </c:pt>
                <c:pt idx="5615">
                  <c:v>31.18547897196262</c:v>
                </c:pt>
                <c:pt idx="5616">
                  <c:v>31.04735218508997</c:v>
                </c:pt>
                <c:pt idx="5617">
                  <c:v>30.36</c:v>
                </c:pt>
                <c:pt idx="5618">
                  <c:v>30.4</c:v>
                </c:pt>
                <c:pt idx="5619">
                  <c:v>30.07</c:v>
                </c:pt>
                <c:pt idx="5620">
                  <c:v>31.740000000000002</c:v>
                </c:pt>
                <c:pt idx="5621">
                  <c:v>39.07</c:v>
                </c:pt>
                <c:pt idx="5622">
                  <c:v>99.98</c:v>
                </c:pt>
                <c:pt idx="5623">
                  <c:v>120.01</c:v>
                </c:pt>
                <c:pt idx="5624">
                  <c:v>105.57</c:v>
                </c:pt>
                <c:pt idx="5625">
                  <c:v>100</c:v>
                </c:pt>
                <c:pt idx="5626">
                  <c:v>85.060000000000016</c:v>
                </c:pt>
                <c:pt idx="5627">
                  <c:v>79.83</c:v>
                </c:pt>
                <c:pt idx="5628">
                  <c:v>81.050000000000011</c:v>
                </c:pt>
                <c:pt idx="5629">
                  <c:v>86.009999999999991</c:v>
                </c:pt>
                <c:pt idx="5630">
                  <c:v>65.19</c:v>
                </c:pt>
                <c:pt idx="5631">
                  <c:v>49.120000000000005</c:v>
                </c:pt>
                <c:pt idx="5632">
                  <c:v>75.34</c:v>
                </c:pt>
                <c:pt idx="5633">
                  <c:v>49.03</c:v>
                </c:pt>
                <c:pt idx="5634">
                  <c:v>49.24</c:v>
                </c:pt>
                <c:pt idx="5635">
                  <c:v>44.96</c:v>
                </c:pt>
                <c:pt idx="5636">
                  <c:v>41.92</c:v>
                </c:pt>
                <c:pt idx="5637">
                  <c:v>35.96</c:v>
                </c:pt>
                <c:pt idx="5638">
                  <c:v>31.289999999999992</c:v>
                </c:pt>
                <c:pt idx="5639">
                  <c:v>30.006796298611977</c:v>
                </c:pt>
                <c:pt idx="5640">
                  <c:v>29.538142981691369</c:v>
                </c:pt>
                <c:pt idx="5641">
                  <c:v>28.228930627082704</c:v>
                </c:pt>
                <c:pt idx="5642">
                  <c:v>27.917443215484891</c:v>
                </c:pt>
                <c:pt idx="5643">
                  <c:v>28.092808988764048</c:v>
                </c:pt>
                <c:pt idx="5644">
                  <c:v>30.341473099066906</c:v>
                </c:pt>
                <c:pt idx="5645">
                  <c:v>36.549436108190768</c:v>
                </c:pt>
                <c:pt idx="5646">
                  <c:v>48.02</c:v>
                </c:pt>
                <c:pt idx="5647">
                  <c:v>48.390000000000008</c:v>
                </c:pt>
                <c:pt idx="5648">
                  <c:v>50.51</c:v>
                </c:pt>
                <c:pt idx="5649">
                  <c:v>54.39</c:v>
                </c:pt>
                <c:pt idx="5650">
                  <c:v>50.939999999999991</c:v>
                </c:pt>
                <c:pt idx="5651">
                  <c:v>53.87</c:v>
                </c:pt>
                <c:pt idx="5652">
                  <c:v>54.499999999999993</c:v>
                </c:pt>
                <c:pt idx="5653">
                  <c:v>49.08</c:v>
                </c:pt>
                <c:pt idx="5654">
                  <c:v>45.220000000000006</c:v>
                </c:pt>
                <c:pt idx="5655">
                  <c:v>39.729999999999997</c:v>
                </c:pt>
                <c:pt idx="5656">
                  <c:v>44.83</c:v>
                </c:pt>
                <c:pt idx="5657">
                  <c:v>42.75</c:v>
                </c:pt>
                <c:pt idx="5658">
                  <c:v>44.890000000000008</c:v>
                </c:pt>
                <c:pt idx="5659">
                  <c:v>44.55</c:v>
                </c:pt>
                <c:pt idx="5660">
                  <c:v>41.88</c:v>
                </c:pt>
                <c:pt idx="5661">
                  <c:v>36.669999999999995</c:v>
                </c:pt>
                <c:pt idx="5662">
                  <c:v>33.14</c:v>
                </c:pt>
                <c:pt idx="5663">
                  <c:v>32.630000000000003</c:v>
                </c:pt>
                <c:pt idx="5664">
                  <c:v>31.31</c:v>
                </c:pt>
                <c:pt idx="5665">
                  <c:v>30.129999999999995</c:v>
                </c:pt>
                <c:pt idx="5666">
                  <c:v>29.576175637393767</c:v>
                </c:pt>
                <c:pt idx="5667">
                  <c:v>30.045365501598102</c:v>
                </c:pt>
                <c:pt idx="5668">
                  <c:v>32.28</c:v>
                </c:pt>
                <c:pt idx="5669">
                  <c:v>38.337699853892708</c:v>
                </c:pt>
                <c:pt idx="5670">
                  <c:v>43.969999999999992</c:v>
                </c:pt>
                <c:pt idx="5671">
                  <c:v>47.410000000000004</c:v>
                </c:pt>
                <c:pt idx="5672">
                  <c:v>49.61</c:v>
                </c:pt>
                <c:pt idx="5673">
                  <c:v>43.107306044740611</c:v>
                </c:pt>
                <c:pt idx="5674">
                  <c:v>41.296846550735715</c:v>
                </c:pt>
                <c:pt idx="5675">
                  <c:v>38.862050677894089</c:v>
                </c:pt>
                <c:pt idx="5676">
                  <c:v>36.029099351533105</c:v>
                </c:pt>
                <c:pt idx="5677">
                  <c:v>34.252966222645107</c:v>
                </c:pt>
                <c:pt idx="5678">
                  <c:v>34.773942094473043</c:v>
                </c:pt>
                <c:pt idx="5679">
                  <c:v>36.04</c:v>
                </c:pt>
                <c:pt idx="5680">
                  <c:v>40.409999999999997</c:v>
                </c:pt>
                <c:pt idx="5681">
                  <c:v>42.930000000000007</c:v>
                </c:pt>
                <c:pt idx="5682">
                  <c:v>45.7</c:v>
                </c:pt>
                <c:pt idx="5683">
                  <c:v>45.4</c:v>
                </c:pt>
                <c:pt idx="5684">
                  <c:v>41.24</c:v>
                </c:pt>
                <c:pt idx="5685">
                  <c:v>37.93</c:v>
                </c:pt>
                <c:pt idx="5686">
                  <c:v>34.6</c:v>
                </c:pt>
                <c:pt idx="5687">
                  <c:v>34.75</c:v>
                </c:pt>
                <c:pt idx="5688">
                  <c:v>32.21</c:v>
                </c:pt>
                <c:pt idx="5689">
                  <c:v>31.38</c:v>
                </c:pt>
                <c:pt idx="5690">
                  <c:v>30.890000000000004</c:v>
                </c:pt>
                <c:pt idx="5691">
                  <c:v>30.610000000000003</c:v>
                </c:pt>
                <c:pt idx="5692">
                  <c:v>30.290000000000003</c:v>
                </c:pt>
                <c:pt idx="5693">
                  <c:v>30.470000000000002</c:v>
                </c:pt>
                <c:pt idx="5694">
                  <c:v>31.041994301994297</c:v>
                </c:pt>
                <c:pt idx="5695">
                  <c:v>34.827491289198605</c:v>
                </c:pt>
                <c:pt idx="5696">
                  <c:v>35.963539467068877</c:v>
                </c:pt>
                <c:pt idx="5697">
                  <c:v>35.653414740514613</c:v>
                </c:pt>
                <c:pt idx="5698">
                  <c:v>34.996323529411768</c:v>
                </c:pt>
                <c:pt idx="5699">
                  <c:v>31.534847982310669</c:v>
                </c:pt>
                <c:pt idx="5700">
                  <c:v>31.93</c:v>
                </c:pt>
                <c:pt idx="5701">
                  <c:v>31.59</c:v>
                </c:pt>
                <c:pt idx="5702">
                  <c:v>32.284228028503563</c:v>
                </c:pt>
                <c:pt idx="5703">
                  <c:v>32.197124463519309</c:v>
                </c:pt>
                <c:pt idx="5704">
                  <c:v>36.82</c:v>
                </c:pt>
                <c:pt idx="5705">
                  <c:v>39.67</c:v>
                </c:pt>
                <c:pt idx="5706">
                  <c:v>42</c:v>
                </c:pt>
                <c:pt idx="5707">
                  <c:v>42.38</c:v>
                </c:pt>
                <c:pt idx="5708">
                  <c:v>39.97</c:v>
                </c:pt>
                <c:pt idx="5709">
                  <c:v>38.440000000000005</c:v>
                </c:pt>
                <c:pt idx="5710">
                  <c:v>34.9</c:v>
                </c:pt>
                <c:pt idx="5711">
                  <c:v>34.950000000000003</c:v>
                </c:pt>
                <c:pt idx="5712">
                  <c:v>31.928796147672553</c:v>
                </c:pt>
                <c:pt idx="5713">
                  <c:v>30.15642857142857</c:v>
                </c:pt>
                <c:pt idx="5714">
                  <c:v>28.814434611602756</c:v>
                </c:pt>
                <c:pt idx="5715">
                  <c:v>29.427806487080815</c:v>
                </c:pt>
                <c:pt idx="5716">
                  <c:v>29.137339108910894</c:v>
                </c:pt>
                <c:pt idx="5717">
                  <c:v>30.047010159651673</c:v>
                </c:pt>
                <c:pt idx="5718">
                  <c:v>29.76086941461725</c:v>
                </c:pt>
                <c:pt idx="5719">
                  <c:v>31.075598871505516</c:v>
                </c:pt>
                <c:pt idx="5720">
                  <c:v>31.768652912621359</c:v>
                </c:pt>
                <c:pt idx="5721">
                  <c:v>32.531488095238103</c:v>
                </c:pt>
                <c:pt idx="5722">
                  <c:v>33.37901049475262</c:v>
                </c:pt>
                <c:pt idx="5723">
                  <c:v>32.951339908587926</c:v>
                </c:pt>
                <c:pt idx="5724">
                  <c:v>31.481157699443418</c:v>
                </c:pt>
                <c:pt idx="5725">
                  <c:v>31.015542168674692</c:v>
                </c:pt>
                <c:pt idx="5726">
                  <c:v>30.715658576051784</c:v>
                </c:pt>
                <c:pt idx="5727">
                  <c:v>30.616153268219385</c:v>
                </c:pt>
                <c:pt idx="5728">
                  <c:v>32.380000000000003</c:v>
                </c:pt>
                <c:pt idx="5729">
                  <c:v>35.200000000000003</c:v>
                </c:pt>
                <c:pt idx="5730">
                  <c:v>38.96</c:v>
                </c:pt>
                <c:pt idx="5731">
                  <c:v>42.209999999999994</c:v>
                </c:pt>
                <c:pt idx="5732">
                  <c:v>42.43</c:v>
                </c:pt>
                <c:pt idx="5733">
                  <c:v>38.000000000000007</c:v>
                </c:pt>
                <c:pt idx="5734">
                  <c:v>35.979999999999997</c:v>
                </c:pt>
                <c:pt idx="5735">
                  <c:v>33.54</c:v>
                </c:pt>
                <c:pt idx="5736">
                  <c:v>30.940000000000005</c:v>
                </c:pt>
                <c:pt idx="5737">
                  <c:v>30.64</c:v>
                </c:pt>
                <c:pt idx="5738">
                  <c:v>30.399999999999995</c:v>
                </c:pt>
                <c:pt idx="5739">
                  <c:v>30.42</c:v>
                </c:pt>
                <c:pt idx="5740">
                  <c:v>31.99</c:v>
                </c:pt>
                <c:pt idx="5741">
                  <c:v>42.02470085470086</c:v>
                </c:pt>
                <c:pt idx="5742">
                  <c:v>74.8</c:v>
                </c:pt>
                <c:pt idx="5743">
                  <c:v>81.98</c:v>
                </c:pt>
                <c:pt idx="5744">
                  <c:v>74.8</c:v>
                </c:pt>
                <c:pt idx="5745">
                  <c:v>74.790000000000006</c:v>
                </c:pt>
                <c:pt idx="5746">
                  <c:v>70.63</c:v>
                </c:pt>
                <c:pt idx="5747">
                  <c:v>54.090000000000011</c:v>
                </c:pt>
                <c:pt idx="5748">
                  <c:v>50.55</c:v>
                </c:pt>
                <c:pt idx="5749">
                  <c:v>46.840000000000011</c:v>
                </c:pt>
                <c:pt idx="5750">
                  <c:v>44.70000000000001</c:v>
                </c:pt>
                <c:pt idx="5751">
                  <c:v>39.75</c:v>
                </c:pt>
                <c:pt idx="5752">
                  <c:v>44.93</c:v>
                </c:pt>
                <c:pt idx="5753">
                  <c:v>46.6</c:v>
                </c:pt>
                <c:pt idx="5754">
                  <c:v>50</c:v>
                </c:pt>
                <c:pt idx="5755">
                  <c:v>47.59</c:v>
                </c:pt>
                <c:pt idx="5756">
                  <c:v>41.23</c:v>
                </c:pt>
                <c:pt idx="5757">
                  <c:v>35.86999999999999</c:v>
                </c:pt>
                <c:pt idx="5758">
                  <c:v>32</c:v>
                </c:pt>
                <c:pt idx="5759">
                  <c:v>30.170000000000005</c:v>
                </c:pt>
                <c:pt idx="5760">
                  <c:v>29.669999999999998</c:v>
                </c:pt>
                <c:pt idx="5761">
                  <c:v>29.52</c:v>
                </c:pt>
                <c:pt idx="5762">
                  <c:v>29.31</c:v>
                </c:pt>
                <c:pt idx="5763">
                  <c:v>29.380000000000003</c:v>
                </c:pt>
                <c:pt idx="5764">
                  <c:v>29.949999999999996</c:v>
                </c:pt>
                <c:pt idx="5765">
                  <c:v>35</c:v>
                </c:pt>
                <c:pt idx="5766">
                  <c:v>37.299069099510056</c:v>
                </c:pt>
                <c:pt idx="5767">
                  <c:v>38.047547169811317</c:v>
                </c:pt>
                <c:pt idx="5768">
                  <c:v>38.778284101219874</c:v>
                </c:pt>
                <c:pt idx="5769">
                  <c:v>38.518512021371322</c:v>
                </c:pt>
                <c:pt idx="5770">
                  <c:v>36.746774402592145</c:v>
                </c:pt>
                <c:pt idx="5771">
                  <c:v>33.061154257214106</c:v>
                </c:pt>
                <c:pt idx="5772">
                  <c:v>33.940919245089226</c:v>
                </c:pt>
                <c:pt idx="5773">
                  <c:v>33.506654710664755</c:v>
                </c:pt>
                <c:pt idx="5774">
                  <c:v>33.834504005655042</c:v>
                </c:pt>
                <c:pt idx="5775">
                  <c:v>37.098109543988365</c:v>
                </c:pt>
                <c:pt idx="5776">
                  <c:v>37.604953786820928</c:v>
                </c:pt>
                <c:pt idx="5777">
                  <c:v>38.336712441843012</c:v>
                </c:pt>
                <c:pt idx="5778">
                  <c:v>39.762726021110609</c:v>
                </c:pt>
                <c:pt idx="5779">
                  <c:v>41.240000000000009</c:v>
                </c:pt>
                <c:pt idx="5780">
                  <c:v>38.299999999999997</c:v>
                </c:pt>
                <c:pt idx="5781">
                  <c:v>34.200000000000003</c:v>
                </c:pt>
                <c:pt idx="5782">
                  <c:v>31.18</c:v>
                </c:pt>
                <c:pt idx="5783">
                  <c:v>31.19</c:v>
                </c:pt>
                <c:pt idx="5784">
                  <c:v>30.26</c:v>
                </c:pt>
                <c:pt idx="5785">
                  <c:v>29.83</c:v>
                </c:pt>
                <c:pt idx="5786">
                  <c:v>29.560000000000002</c:v>
                </c:pt>
                <c:pt idx="5787">
                  <c:v>29.6</c:v>
                </c:pt>
                <c:pt idx="5788">
                  <c:v>30.82</c:v>
                </c:pt>
                <c:pt idx="5789">
                  <c:v>36.51</c:v>
                </c:pt>
                <c:pt idx="5790">
                  <c:v>42</c:v>
                </c:pt>
                <c:pt idx="5791">
                  <c:v>45.089003496503501</c:v>
                </c:pt>
                <c:pt idx="5792">
                  <c:v>45.458712715855576</c:v>
                </c:pt>
                <c:pt idx="5793">
                  <c:v>46.2255155482815</c:v>
                </c:pt>
                <c:pt idx="5794">
                  <c:v>46.366052104208414</c:v>
                </c:pt>
                <c:pt idx="5795">
                  <c:v>47.885143769968046</c:v>
                </c:pt>
                <c:pt idx="5796">
                  <c:v>44.766477341389731</c:v>
                </c:pt>
                <c:pt idx="5797">
                  <c:v>41.855612691466078</c:v>
                </c:pt>
                <c:pt idx="5798">
                  <c:v>40.243302313214564</c:v>
                </c:pt>
                <c:pt idx="5799">
                  <c:v>38.938332108743566</c:v>
                </c:pt>
                <c:pt idx="5800">
                  <c:v>41.072798789712557</c:v>
                </c:pt>
                <c:pt idx="5801">
                  <c:v>41.36999999999999</c:v>
                </c:pt>
                <c:pt idx="5802">
                  <c:v>40.070000000000007</c:v>
                </c:pt>
                <c:pt idx="5803">
                  <c:v>39.490000000000009</c:v>
                </c:pt>
                <c:pt idx="5804">
                  <c:v>37.04</c:v>
                </c:pt>
                <c:pt idx="5805">
                  <c:v>32.479999999999997</c:v>
                </c:pt>
                <c:pt idx="5806">
                  <c:v>30.57</c:v>
                </c:pt>
                <c:pt idx="5807">
                  <c:v>30.57</c:v>
                </c:pt>
                <c:pt idx="5808">
                  <c:v>29.970000000000002</c:v>
                </c:pt>
                <c:pt idx="5809">
                  <c:v>29.75</c:v>
                </c:pt>
                <c:pt idx="5810">
                  <c:v>29.25</c:v>
                </c:pt>
                <c:pt idx="5811">
                  <c:v>29.540000000000003</c:v>
                </c:pt>
                <c:pt idx="5812">
                  <c:v>30.091562189054727</c:v>
                </c:pt>
                <c:pt idx="5813">
                  <c:v>34.106232798889025</c:v>
                </c:pt>
                <c:pt idx="5814">
                  <c:v>39.92</c:v>
                </c:pt>
                <c:pt idx="5815">
                  <c:v>43.375467322557974</c:v>
                </c:pt>
                <c:pt idx="5816">
                  <c:v>45.252466747279321</c:v>
                </c:pt>
                <c:pt idx="5817">
                  <c:v>48.557890724269377</c:v>
                </c:pt>
                <c:pt idx="5818">
                  <c:v>46.741273945357477</c:v>
                </c:pt>
                <c:pt idx="5819">
                  <c:v>45.046266247379464</c:v>
                </c:pt>
                <c:pt idx="5820">
                  <c:v>43.489550531677246</c:v>
                </c:pt>
                <c:pt idx="5821">
                  <c:v>42.41</c:v>
                </c:pt>
                <c:pt idx="5822">
                  <c:v>41.980068766991842</c:v>
                </c:pt>
                <c:pt idx="5823">
                  <c:v>40.19</c:v>
                </c:pt>
                <c:pt idx="5824">
                  <c:v>41.9</c:v>
                </c:pt>
                <c:pt idx="5825">
                  <c:v>43.08</c:v>
                </c:pt>
                <c:pt idx="5826">
                  <c:v>41.400000000000006</c:v>
                </c:pt>
                <c:pt idx="5827">
                  <c:v>42.64</c:v>
                </c:pt>
                <c:pt idx="5828">
                  <c:v>38.69</c:v>
                </c:pt>
                <c:pt idx="5829">
                  <c:v>35.36</c:v>
                </c:pt>
                <c:pt idx="5830">
                  <c:v>32.529999999999994</c:v>
                </c:pt>
                <c:pt idx="5831">
                  <c:v>31.978217440543606</c:v>
                </c:pt>
                <c:pt idx="5832">
                  <c:v>31.041435383881737</c:v>
                </c:pt>
                <c:pt idx="5833">
                  <c:v>29.947936549326382</c:v>
                </c:pt>
                <c:pt idx="5834">
                  <c:v>29.640000000000004</c:v>
                </c:pt>
                <c:pt idx="5835">
                  <c:v>29.770172811059904</c:v>
                </c:pt>
                <c:pt idx="5836">
                  <c:v>31.685567039908126</c:v>
                </c:pt>
                <c:pt idx="5837">
                  <c:v>36.04</c:v>
                </c:pt>
                <c:pt idx="5838">
                  <c:v>41.05</c:v>
                </c:pt>
                <c:pt idx="5839">
                  <c:v>45.829999999999991</c:v>
                </c:pt>
                <c:pt idx="5840">
                  <c:v>45.178128312412831</c:v>
                </c:pt>
                <c:pt idx="5841">
                  <c:v>45.008306217963003</c:v>
                </c:pt>
                <c:pt idx="5842">
                  <c:v>45.155737704918039</c:v>
                </c:pt>
                <c:pt idx="5843">
                  <c:v>44.21409751292785</c:v>
                </c:pt>
                <c:pt idx="5844">
                  <c:v>39.001292163985468</c:v>
                </c:pt>
                <c:pt idx="5845">
                  <c:v>37.348483920367535</c:v>
                </c:pt>
                <c:pt idx="5846">
                  <c:v>38.707864703175339</c:v>
                </c:pt>
                <c:pt idx="5847">
                  <c:v>38.62302285992218</c:v>
                </c:pt>
                <c:pt idx="5848">
                  <c:v>39.485382978723408</c:v>
                </c:pt>
                <c:pt idx="5849">
                  <c:v>42.2</c:v>
                </c:pt>
                <c:pt idx="5850">
                  <c:v>43.739999999999995</c:v>
                </c:pt>
                <c:pt idx="5851">
                  <c:v>43.95</c:v>
                </c:pt>
                <c:pt idx="5852">
                  <c:v>39.359999999999992</c:v>
                </c:pt>
                <c:pt idx="5853">
                  <c:v>36.21</c:v>
                </c:pt>
                <c:pt idx="5854">
                  <c:v>34.509999999999991</c:v>
                </c:pt>
                <c:pt idx="5855">
                  <c:v>32.22</c:v>
                </c:pt>
                <c:pt idx="5856">
                  <c:v>31.685303430079156</c:v>
                </c:pt>
                <c:pt idx="5857">
                  <c:v>30.152560426054894</c:v>
                </c:pt>
                <c:pt idx="5858">
                  <c:v>30.619999999999997</c:v>
                </c:pt>
                <c:pt idx="5859">
                  <c:v>30.7</c:v>
                </c:pt>
                <c:pt idx="5860">
                  <c:v>30.7</c:v>
                </c:pt>
                <c:pt idx="5861">
                  <c:v>31.100000000000005</c:v>
                </c:pt>
                <c:pt idx="5862">
                  <c:v>32.39</c:v>
                </c:pt>
                <c:pt idx="5863">
                  <c:v>35.1</c:v>
                </c:pt>
                <c:pt idx="5864">
                  <c:v>38</c:v>
                </c:pt>
                <c:pt idx="5865">
                  <c:v>38.15</c:v>
                </c:pt>
                <c:pt idx="5866">
                  <c:v>38.030000000000008</c:v>
                </c:pt>
                <c:pt idx="5867">
                  <c:v>35.369999999999997</c:v>
                </c:pt>
                <c:pt idx="5868">
                  <c:v>33.093935483870972</c:v>
                </c:pt>
                <c:pt idx="5869">
                  <c:v>31.867202118270082</c:v>
                </c:pt>
                <c:pt idx="5870">
                  <c:v>31.398389458272334</c:v>
                </c:pt>
                <c:pt idx="5871">
                  <c:v>31.592707903780074</c:v>
                </c:pt>
                <c:pt idx="5872">
                  <c:v>33.09193259121831</c:v>
                </c:pt>
                <c:pt idx="5873">
                  <c:v>37.249999999999993</c:v>
                </c:pt>
                <c:pt idx="5874">
                  <c:v>40.32</c:v>
                </c:pt>
                <c:pt idx="5875">
                  <c:v>40.520000000000003</c:v>
                </c:pt>
                <c:pt idx="5876">
                  <c:v>38.019999999999996</c:v>
                </c:pt>
                <c:pt idx="5877">
                  <c:v>35.556788381742734</c:v>
                </c:pt>
                <c:pt idx="5878">
                  <c:v>31.099781529294933</c:v>
                </c:pt>
                <c:pt idx="5879">
                  <c:v>32.806078431372548</c:v>
                </c:pt>
                <c:pt idx="5880">
                  <c:v>30.894562841530053</c:v>
                </c:pt>
                <c:pt idx="5881">
                  <c:v>30.999999999999996</c:v>
                </c:pt>
                <c:pt idx="5882">
                  <c:v>30.769999999999996</c:v>
                </c:pt>
                <c:pt idx="5883">
                  <c:v>30.62</c:v>
                </c:pt>
                <c:pt idx="5884">
                  <c:v>30.44</c:v>
                </c:pt>
                <c:pt idx="5885">
                  <c:v>30.980000000000004</c:v>
                </c:pt>
                <c:pt idx="5886">
                  <c:v>31.345591397849461</c:v>
                </c:pt>
                <c:pt idx="5887">
                  <c:v>31.442547770700635</c:v>
                </c:pt>
                <c:pt idx="5888">
                  <c:v>31.860714285714284</c:v>
                </c:pt>
                <c:pt idx="5889">
                  <c:v>31.736846473029047</c:v>
                </c:pt>
                <c:pt idx="5890">
                  <c:v>31.581559507523945</c:v>
                </c:pt>
                <c:pt idx="5891">
                  <c:v>31.741488277268093</c:v>
                </c:pt>
                <c:pt idx="5892">
                  <c:v>31.51858520900322</c:v>
                </c:pt>
                <c:pt idx="5893">
                  <c:v>31.351074168797957</c:v>
                </c:pt>
                <c:pt idx="5894">
                  <c:v>31.309736842105266</c:v>
                </c:pt>
                <c:pt idx="5895">
                  <c:v>31.346046939714679</c:v>
                </c:pt>
                <c:pt idx="5896">
                  <c:v>33.46</c:v>
                </c:pt>
                <c:pt idx="5897">
                  <c:v>34.2575</c:v>
                </c:pt>
                <c:pt idx="5898">
                  <c:v>38.682529118136443</c:v>
                </c:pt>
                <c:pt idx="5899">
                  <c:v>42.27</c:v>
                </c:pt>
                <c:pt idx="5900">
                  <c:v>39.909999999999997</c:v>
                </c:pt>
                <c:pt idx="5901">
                  <c:v>38.42</c:v>
                </c:pt>
                <c:pt idx="5902">
                  <c:v>33.43</c:v>
                </c:pt>
                <c:pt idx="5903">
                  <c:v>30.983365220362145</c:v>
                </c:pt>
                <c:pt idx="5904">
                  <c:v>29.948643216080395</c:v>
                </c:pt>
                <c:pt idx="5905">
                  <c:v>29.95</c:v>
                </c:pt>
                <c:pt idx="5906">
                  <c:v>29.84</c:v>
                </c:pt>
                <c:pt idx="5907">
                  <c:v>28.870377358490568</c:v>
                </c:pt>
                <c:pt idx="5908">
                  <c:v>30.538689694011634</c:v>
                </c:pt>
                <c:pt idx="5909">
                  <c:v>39.160547097205949</c:v>
                </c:pt>
                <c:pt idx="5910">
                  <c:v>44.335909756812185</c:v>
                </c:pt>
                <c:pt idx="5911">
                  <c:v>47.410885710157501</c:v>
                </c:pt>
                <c:pt idx="5912">
                  <c:v>45.733384760705285</c:v>
                </c:pt>
                <c:pt idx="5913">
                  <c:v>44.210061399256745</c:v>
                </c:pt>
                <c:pt idx="5914">
                  <c:v>41.405798137678744</c:v>
                </c:pt>
                <c:pt idx="5915">
                  <c:v>40.924278768233386</c:v>
                </c:pt>
                <c:pt idx="5916">
                  <c:v>38.299204977531978</c:v>
                </c:pt>
                <c:pt idx="5917">
                  <c:v>36.385475206611574</c:v>
                </c:pt>
                <c:pt idx="5918">
                  <c:v>37.28542695130087</c:v>
                </c:pt>
                <c:pt idx="5919">
                  <c:v>37.896966126656849</c:v>
                </c:pt>
                <c:pt idx="5920">
                  <c:v>39.95615635179152</c:v>
                </c:pt>
                <c:pt idx="5921">
                  <c:v>42.91</c:v>
                </c:pt>
                <c:pt idx="5922">
                  <c:v>45.48</c:v>
                </c:pt>
                <c:pt idx="5923">
                  <c:v>45.71</c:v>
                </c:pt>
                <c:pt idx="5924">
                  <c:v>42.300000000000004</c:v>
                </c:pt>
                <c:pt idx="5925">
                  <c:v>38.930000000000007</c:v>
                </c:pt>
                <c:pt idx="5926">
                  <c:v>33.22</c:v>
                </c:pt>
                <c:pt idx="5927">
                  <c:v>31.746933477555434</c:v>
                </c:pt>
                <c:pt idx="5928">
                  <c:v>30.14812073490814</c:v>
                </c:pt>
                <c:pt idx="5929">
                  <c:v>30.24</c:v>
                </c:pt>
                <c:pt idx="5930">
                  <c:v>30.24</c:v>
                </c:pt>
                <c:pt idx="5931">
                  <c:v>30.10010037641154</c:v>
                </c:pt>
                <c:pt idx="5932">
                  <c:v>31.023396684189244</c:v>
                </c:pt>
                <c:pt idx="5933">
                  <c:v>36.369999999999997</c:v>
                </c:pt>
                <c:pt idx="5934">
                  <c:v>48.95</c:v>
                </c:pt>
                <c:pt idx="5935">
                  <c:v>66.84</c:v>
                </c:pt>
                <c:pt idx="5936">
                  <c:v>50.450187718740054</c:v>
                </c:pt>
                <c:pt idx="5937">
                  <c:v>41.821198003327787</c:v>
                </c:pt>
                <c:pt idx="5938">
                  <c:v>42.130105865522168</c:v>
                </c:pt>
                <c:pt idx="5939">
                  <c:v>38.857141113281251</c:v>
                </c:pt>
                <c:pt idx="5940">
                  <c:v>37.384942435871537</c:v>
                </c:pt>
                <c:pt idx="5941">
                  <c:v>36.791447963800913</c:v>
                </c:pt>
                <c:pt idx="5942">
                  <c:v>38.519817340766217</c:v>
                </c:pt>
                <c:pt idx="5943">
                  <c:v>39.168048780487808</c:v>
                </c:pt>
                <c:pt idx="5944">
                  <c:v>40.754850917431199</c:v>
                </c:pt>
                <c:pt idx="5945">
                  <c:v>43.192492668621703</c:v>
                </c:pt>
                <c:pt idx="5946">
                  <c:v>45.189437327047244</c:v>
                </c:pt>
                <c:pt idx="5947">
                  <c:v>45.430464903450172</c:v>
                </c:pt>
                <c:pt idx="5948">
                  <c:v>40.4</c:v>
                </c:pt>
                <c:pt idx="5949">
                  <c:v>37.25</c:v>
                </c:pt>
                <c:pt idx="5950">
                  <c:v>32.970000000000006</c:v>
                </c:pt>
                <c:pt idx="5951">
                  <c:v>29.679997078016942</c:v>
                </c:pt>
                <c:pt idx="5952">
                  <c:v>29.325532289831035</c:v>
                </c:pt>
                <c:pt idx="5953">
                  <c:v>29.806281527744417</c:v>
                </c:pt>
                <c:pt idx="5954">
                  <c:v>30.023827978677424</c:v>
                </c:pt>
                <c:pt idx="5955">
                  <c:v>27.745971643035869</c:v>
                </c:pt>
                <c:pt idx="5956">
                  <c:v>29.791669990933816</c:v>
                </c:pt>
                <c:pt idx="5957">
                  <c:v>36.32</c:v>
                </c:pt>
                <c:pt idx="5958">
                  <c:v>47.19</c:v>
                </c:pt>
                <c:pt idx="5959">
                  <c:v>57.91</c:v>
                </c:pt>
                <c:pt idx="5960">
                  <c:v>60.099999999999994</c:v>
                </c:pt>
                <c:pt idx="5961">
                  <c:v>64.340108648413732</c:v>
                </c:pt>
                <c:pt idx="5962">
                  <c:v>54.036747288368041</c:v>
                </c:pt>
                <c:pt idx="5963">
                  <c:v>39.090932016391719</c:v>
                </c:pt>
                <c:pt idx="5964">
                  <c:v>34.442313824968302</c:v>
                </c:pt>
                <c:pt idx="5965">
                  <c:v>31.762064002709113</c:v>
                </c:pt>
                <c:pt idx="5966">
                  <c:v>31.35134295713036</c:v>
                </c:pt>
                <c:pt idx="5967">
                  <c:v>31.486677975180786</c:v>
                </c:pt>
                <c:pt idx="5968">
                  <c:v>31.120878320811713</c:v>
                </c:pt>
                <c:pt idx="5969">
                  <c:v>30.563787276341952</c:v>
                </c:pt>
                <c:pt idx="5970">
                  <c:v>36.753418512208967</c:v>
                </c:pt>
                <c:pt idx="5971">
                  <c:v>37.597380034884189</c:v>
                </c:pt>
                <c:pt idx="5972">
                  <c:v>31.967878833660677</c:v>
                </c:pt>
                <c:pt idx="5973">
                  <c:v>30.150797686558757</c:v>
                </c:pt>
                <c:pt idx="5974">
                  <c:v>23.926361873990306</c:v>
                </c:pt>
                <c:pt idx="5975">
                  <c:v>23.286024962978633</c:v>
                </c:pt>
                <c:pt idx="5976">
                  <c:v>18.510028436018956</c:v>
                </c:pt>
                <c:pt idx="5977">
                  <c:v>17.14931614432837</c:v>
                </c:pt>
                <c:pt idx="5978">
                  <c:v>26.029694674650063</c:v>
                </c:pt>
                <c:pt idx="5979">
                  <c:v>20.426382200426097</c:v>
                </c:pt>
                <c:pt idx="5980">
                  <c:v>24.121586841877754</c:v>
                </c:pt>
                <c:pt idx="5981">
                  <c:v>34.630000000000003</c:v>
                </c:pt>
                <c:pt idx="5982">
                  <c:v>41.400789688662975</c:v>
                </c:pt>
                <c:pt idx="5983">
                  <c:v>40.176669931919477</c:v>
                </c:pt>
                <c:pt idx="5984">
                  <c:v>40.397482365708086</c:v>
                </c:pt>
                <c:pt idx="5985">
                  <c:v>42.300684719074319</c:v>
                </c:pt>
                <c:pt idx="5986">
                  <c:v>43.186318392189179</c:v>
                </c:pt>
                <c:pt idx="5987">
                  <c:v>43.333539683581698</c:v>
                </c:pt>
                <c:pt idx="5988">
                  <c:v>39.213171939477299</c:v>
                </c:pt>
                <c:pt idx="5989">
                  <c:v>39.158092904169713</c:v>
                </c:pt>
                <c:pt idx="5990">
                  <c:v>41.29098190401259</c:v>
                </c:pt>
                <c:pt idx="5991">
                  <c:v>42.4742639851276</c:v>
                </c:pt>
                <c:pt idx="5992">
                  <c:v>43.716222725401401</c:v>
                </c:pt>
                <c:pt idx="5993">
                  <c:v>43.434479887085395</c:v>
                </c:pt>
                <c:pt idx="5994">
                  <c:v>47.73089369158879</c:v>
                </c:pt>
                <c:pt idx="5995">
                  <c:v>47.619870495495498</c:v>
                </c:pt>
                <c:pt idx="5996">
                  <c:v>41.02</c:v>
                </c:pt>
                <c:pt idx="5997">
                  <c:v>38.78</c:v>
                </c:pt>
                <c:pt idx="5998">
                  <c:v>33.99</c:v>
                </c:pt>
                <c:pt idx="5999">
                  <c:v>30.767409739714523</c:v>
                </c:pt>
                <c:pt idx="6000">
                  <c:v>28.64385313227902</c:v>
                </c:pt>
                <c:pt idx="6001">
                  <c:v>29.240497330710873</c:v>
                </c:pt>
                <c:pt idx="6002">
                  <c:v>29.211159364094609</c:v>
                </c:pt>
                <c:pt idx="6003">
                  <c:v>29.389718818862935</c:v>
                </c:pt>
                <c:pt idx="6004">
                  <c:v>24.858616665427785</c:v>
                </c:pt>
                <c:pt idx="6005">
                  <c:v>33.051101196652141</c:v>
                </c:pt>
                <c:pt idx="6006">
                  <c:v>39.951280757874017</c:v>
                </c:pt>
                <c:pt idx="6007">
                  <c:v>42.032796914049761</c:v>
                </c:pt>
                <c:pt idx="6008">
                  <c:v>39.330734705546028</c:v>
                </c:pt>
                <c:pt idx="6009">
                  <c:v>36.336304433627156</c:v>
                </c:pt>
                <c:pt idx="6010">
                  <c:v>36.188846993617737</c:v>
                </c:pt>
                <c:pt idx="6011">
                  <c:v>35.091167543859648</c:v>
                </c:pt>
                <c:pt idx="6012">
                  <c:v>32.649230015514007</c:v>
                </c:pt>
                <c:pt idx="6013">
                  <c:v>31.793975249916386</c:v>
                </c:pt>
                <c:pt idx="6014">
                  <c:v>31.196351034969716</c:v>
                </c:pt>
                <c:pt idx="6015">
                  <c:v>31.476266750009774</c:v>
                </c:pt>
                <c:pt idx="6016">
                  <c:v>31.902607201309326</c:v>
                </c:pt>
                <c:pt idx="6017">
                  <c:v>34.022160505041327</c:v>
                </c:pt>
                <c:pt idx="6018">
                  <c:v>35.97</c:v>
                </c:pt>
                <c:pt idx="6019">
                  <c:v>37.31</c:v>
                </c:pt>
                <c:pt idx="6020">
                  <c:v>33.019999999999996</c:v>
                </c:pt>
                <c:pt idx="6021">
                  <c:v>30.859999999999992</c:v>
                </c:pt>
                <c:pt idx="6022">
                  <c:v>29.223887164506113</c:v>
                </c:pt>
                <c:pt idx="6023">
                  <c:v>29.509999999999998</c:v>
                </c:pt>
                <c:pt idx="6024">
                  <c:v>29.34</c:v>
                </c:pt>
                <c:pt idx="6025">
                  <c:v>29.020000000000003</c:v>
                </c:pt>
                <c:pt idx="6026">
                  <c:v>28.880000000000006</c:v>
                </c:pt>
                <c:pt idx="6027">
                  <c:v>28.649999999999995</c:v>
                </c:pt>
                <c:pt idx="6028">
                  <c:v>28.769999999999996</c:v>
                </c:pt>
                <c:pt idx="6029">
                  <c:v>28.948848148810587</c:v>
                </c:pt>
                <c:pt idx="6030">
                  <c:v>30.636178779437831</c:v>
                </c:pt>
                <c:pt idx="6031">
                  <c:v>33.414644351464439</c:v>
                </c:pt>
                <c:pt idx="6032">
                  <c:v>37.080000000000005</c:v>
                </c:pt>
                <c:pt idx="6033">
                  <c:v>37.17</c:v>
                </c:pt>
                <c:pt idx="6034">
                  <c:v>38.680000000000007</c:v>
                </c:pt>
                <c:pt idx="6035">
                  <c:v>36.26</c:v>
                </c:pt>
                <c:pt idx="6036">
                  <c:v>33.1</c:v>
                </c:pt>
                <c:pt idx="6037">
                  <c:v>31.808666666666667</c:v>
                </c:pt>
                <c:pt idx="6038">
                  <c:v>31.798607356177303</c:v>
                </c:pt>
                <c:pt idx="6039">
                  <c:v>32.869999999999997</c:v>
                </c:pt>
                <c:pt idx="6040">
                  <c:v>34.540000000000006</c:v>
                </c:pt>
                <c:pt idx="6041">
                  <c:v>36.21</c:v>
                </c:pt>
                <c:pt idx="6042">
                  <c:v>39.08</c:v>
                </c:pt>
                <c:pt idx="6043">
                  <c:v>41.53</c:v>
                </c:pt>
                <c:pt idx="6044">
                  <c:v>38.990000000000009</c:v>
                </c:pt>
                <c:pt idx="6045">
                  <c:v>38.94</c:v>
                </c:pt>
                <c:pt idx="6046">
                  <c:v>36.81</c:v>
                </c:pt>
                <c:pt idx="6047">
                  <c:v>31.060000000000002</c:v>
                </c:pt>
                <c:pt idx="6048">
                  <c:v>29.56</c:v>
                </c:pt>
                <c:pt idx="6049">
                  <c:v>28.229999999999997</c:v>
                </c:pt>
                <c:pt idx="6050">
                  <c:v>27.099999999999998</c:v>
                </c:pt>
                <c:pt idx="6051">
                  <c:v>27.05</c:v>
                </c:pt>
                <c:pt idx="6052">
                  <c:v>27.05</c:v>
                </c:pt>
                <c:pt idx="6053">
                  <c:v>26.870000000000005</c:v>
                </c:pt>
                <c:pt idx="6054">
                  <c:v>26.284427357345205</c:v>
                </c:pt>
                <c:pt idx="6055">
                  <c:v>29.9148498908297</c:v>
                </c:pt>
                <c:pt idx="6056">
                  <c:v>30.563010115102898</c:v>
                </c:pt>
                <c:pt idx="6057">
                  <c:v>30.423155586627686</c:v>
                </c:pt>
                <c:pt idx="6058">
                  <c:v>30.048392948987704</c:v>
                </c:pt>
                <c:pt idx="6059">
                  <c:v>26.546551843218509</c:v>
                </c:pt>
                <c:pt idx="6060">
                  <c:v>28.116122689273521</c:v>
                </c:pt>
                <c:pt idx="6061">
                  <c:v>28.114238991192956</c:v>
                </c:pt>
                <c:pt idx="6062">
                  <c:v>27.828627923976605</c:v>
                </c:pt>
                <c:pt idx="6063">
                  <c:v>28.134720455055763</c:v>
                </c:pt>
                <c:pt idx="6064">
                  <c:v>28.804849622574395</c:v>
                </c:pt>
                <c:pt idx="6065">
                  <c:v>28.132699091630656</c:v>
                </c:pt>
                <c:pt idx="6066">
                  <c:v>31.340477244432147</c:v>
                </c:pt>
                <c:pt idx="6067">
                  <c:v>30.470948171956611</c:v>
                </c:pt>
                <c:pt idx="6068">
                  <c:v>27.990712139423078</c:v>
                </c:pt>
                <c:pt idx="6069">
                  <c:v>20.592301633605597</c:v>
                </c:pt>
                <c:pt idx="6070">
                  <c:v>13.582870165221246</c:v>
                </c:pt>
                <c:pt idx="6071">
                  <c:v>6.3228032431052092</c:v>
                </c:pt>
                <c:pt idx="6072">
                  <c:v>5.8090002323497201</c:v>
                </c:pt>
                <c:pt idx="6073">
                  <c:v>5.4843076824501829</c:v>
                </c:pt>
                <c:pt idx="6074">
                  <c:v>3.6716268278535891</c:v>
                </c:pt>
                <c:pt idx="6075">
                  <c:v>3.8897253525281723</c:v>
                </c:pt>
                <c:pt idx="6076">
                  <c:v>9.041737128725897</c:v>
                </c:pt>
                <c:pt idx="6077">
                  <c:v>25.137805906047429</c:v>
                </c:pt>
                <c:pt idx="6078">
                  <c:v>34.063680985028689</c:v>
                </c:pt>
                <c:pt idx="6079">
                  <c:v>32.598977362118696</c:v>
                </c:pt>
                <c:pt idx="6080">
                  <c:v>32.955953588204189</c:v>
                </c:pt>
                <c:pt idx="6081">
                  <c:v>33.314612150446521</c:v>
                </c:pt>
                <c:pt idx="6082">
                  <c:v>33.247081339712921</c:v>
                </c:pt>
                <c:pt idx="6083">
                  <c:v>32.843902667452916</c:v>
                </c:pt>
                <c:pt idx="6084">
                  <c:v>31.609406199818473</c:v>
                </c:pt>
                <c:pt idx="6085">
                  <c:v>32.006625304456591</c:v>
                </c:pt>
                <c:pt idx="6086">
                  <c:v>30.979110513896174</c:v>
                </c:pt>
                <c:pt idx="6087">
                  <c:v>30.014307421061066</c:v>
                </c:pt>
                <c:pt idx="6088">
                  <c:v>32.549384264538197</c:v>
                </c:pt>
                <c:pt idx="6089">
                  <c:v>31.774045731599902</c:v>
                </c:pt>
                <c:pt idx="6090">
                  <c:v>31.921541782630413</c:v>
                </c:pt>
                <c:pt idx="6091">
                  <c:v>35.543853302830996</c:v>
                </c:pt>
                <c:pt idx="6092">
                  <c:v>30.801305410864245</c:v>
                </c:pt>
                <c:pt idx="6093">
                  <c:v>22.401114605051781</c:v>
                </c:pt>
                <c:pt idx="6094">
                  <c:v>13.674253677906524</c:v>
                </c:pt>
                <c:pt idx="6095">
                  <c:v>14.645102476239737</c:v>
                </c:pt>
                <c:pt idx="6096">
                  <c:v>13.133504029280511</c:v>
                </c:pt>
                <c:pt idx="6097">
                  <c:v>11.059633958176031</c:v>
                </c:pt>
                <c:pt idx="6098">
                  <c:v>10.277193251012008</c:v>
                </c:pt>
                <c:pt idx="6099">
                  <c:v>13.1550442953983</c:v>
                </c:pt>
                <c:pt idx="6100">
                  <c:v>18.327174563017479</c:v>
                </c:pt>
                <c:pt idx="6101">
                  <c:v>33.878857420735265</c:v>
                </c:pt>
                <c:pt idx="6102">
                  <c:v>36.469999999999992</c:v>
                </c:pt>
                <c:pt idx="6103">
                  <c:v>33.007084227806544</c:v>
                </c:pt>
                <c:pt idx="6104">
                  <c:v>32.895969781312125</c:v>
                </c:pt>
                <c:pt idx="6105">
                  <c:v>32.650909612735347</c:v>
                </c:pt>
                <c:pt idx="6106">
                  <c:v>32.108179822153915</c:v>
                </c:pt>
                <c:pt idx="6107">
                  <c:v>31.632784619594968</c:v>
                </c:pt>
                <c:pt idx="6108">
                  <c:v>31.018690660561575</c:v>
                </c:pt>
                <c:pt idx="6109">
                  <c:v>29.458605724220945</c:v>
                </c:pt>
                <c:pt idx="6110">
                  <c:v>30.28205346739022</c:v>
                </c:pt>
                <c:pt idx="6111">
                  <c:v>30.726238532110091</c:v>
                </c:pt>
                <c:pt idx="6112">
                  <c:v>31.187424497930397</c:v>
                </c:pt>
                <c:pt idx="6113">
                  <c:v>31.798697858645873</c:v>
                </c:pt>
                <c:pt idx="6114">
                  <c:v>32.456031094032952</c:v>
                </c:pt>
                <c:pt idx="6115">
                  <c:v>31.282532453341489</c:v>
                </c:pt>
                <c:pt idx="6116">
                  <c:v>30.848873823647473</c:v>
                </c:pt>
                <c:pt idx="6117">
                  <c:v>30.33825042517007</c:v>
                </c:pt>
                <c:pt idx="6118">
                  <c:v>28.324056768961391</c:v>
                </c:pt>
                <c:pt idx="6119">
                  <c:v>22.206192493350411</c:v>
                </c:pt>
                <c:pt idx="6120">
                  <c:v>17.242612035851472</c:v>
                </c:pt>
                <c:pt idx="6121">
                  <c:v>21.829363940407422</c:v>
                </c:pt>
                <c:pt idx="6122">
                  <c:v>15.660673170731709</c:v>
                </c:pt>
                <c:pt idx="6123">
                  <c:v>15.094194532186036</c:v>
                </c:pt>
                <c:pt idx="6124">
                  <c:v>24.6831846704351</c:v>
                </c:pt>
                <c:pt idx="6125">
                  <c:v>25.956301804111696</c:v>
                </c:pt>
                <c:pt idx="6126">
                  <c:v>39.365320601998235</c:v>
                </c:pt>
                <c:pt idx="6127">
                  <c:v>36.713150167332401</c:v>
                </c:pt>
                <c:pt idx="6128">
                  <c:v>35.127885036859936</c:v>
                </c:pt>
                <c:pt idx="6129">
                  <c:v>34.339287132948328</c:v>
                </c:pt>
                <c:pt idx="6130">
                  <c:v>32.503154446363695</c:v>
                </c:pt>
                <c:pt idx="6131">
                  <c:v>31.900812193562146</c:v>
                </c:pt>
                <c:pt idx="6132">
                  <c:v>31.837955397481494</c:v>
                </c:pt>
                <c:pt idx="6133">
                  <c:v>31.778304538598658</c:v>
                </c:pt>
                <c:pt idx="6134">
                  <c:v>31.860178188063546</c:v>
                </c:pt>
                <c:pt idx="6135">
                  <c:v>32.239794295660431</c:v>
                </c:pt>
                <c:pt idx="6136">
                  <c:v>35.549718580415878</c:v>
                </c:pt>
                <c:pt idx="6137">
                  <c:v>27.157548853248674</c:v>
                </c:pt>
                <c:pt idx="6138">
                  <c:v>31.883953374898351</c:v>
                </c:pt>
                <c:pt idx="6139">
                  <c:v>31.644756008739986</c:v>
                </c:pt>
                <c:pt idx="6140">
                  <c:v>20.472727829013504</c:v>
                </c:pt>
                <c:pt idx="6141">
                  <c:v>18.409145990889389</c:v>
                </c:pt>
                <c:pt idx="6142">
                  <c:v>16.173870686089796</c:v>
                </c:pt>
                <c:pt idx="6143">
                  <c:v>27.019999999999996</c:v>
                </c:pt>
                <c:pt idx="6144">
                  <c:v>26.56</c:v>
                </c:pt>
                <c:pt idx="6145">
                  <c:v>25.98</c:v>
                </c:pt>
                <c:pt idx="6146">
                  <c:v>26.57</c:v>
                </c:pt>
                <c:pt idx="6147">
                  <c:v>27.61</c:v>
                </c:pt>
                <c:pt idx="6148">
                  <c:v>26.115981674477162</c:v>
                </c:pt>
                <c:pt idx="6149">
                  <c:v>33.625171705553733</c:v>
                </c:pt>
                <c:pt idx="6150">
                  <c:v>38.582578830905398</c:v>
                </c:pt>
                <c:pt idx="6151">
                  <c:v>46.095180630284396</c:v>
                </c:pt>
                <c:pt idx="6152">
                  <c:v>42.992638957206104</c:v>
                </c:pt>
                <c:pt idx="6153">
                  <c:v>44.410318133616123</c:v>
                </c:pt>
                <c:pt idx="6154">
                  <c:v>47.586171003717467</c:v>
                </c:pt>
                <c:pt idx="6155">
                  <c:v>44.735850340136061</c:v>
                </c:pt>
                <c:pt idx="6156">
                  <c:v>37.596596460753446</c:v>
                </c:pt>
                <c:pt idx="6157">
                  <c:v>36.563607157719517</c:v>
                </c:pt>
                <c:pt idx="6158">
                  <c:v>34.166116970975487</c:v>
                </c:pt>
                <c:pt idx="6159">
                  <c:v>32.462961781277578</c:v>
                </c:pt>
                <c:pt idx="6160">
                  <c:v>35.993548091603053</c:v>
                </c:pt>
                <c:pt idx="6161">
                  <c:v>36.87031016278047</c:v>
                </c:pt>
                <c:pt idx="6162">
                  <c:v>41.238922316470379</c:v>
                </c:pt>
                <c:pt idx="6163">
                  <c:v>38.036536490948421</c:v>
                </c:pt>
                <c:pt idx="6164">
                  <c:v>35.573011176857335</c:v>
                </c:pt>
                <c:pt idx="6165">
                  <c:v>28.072625945556528</c:v>
                </c:pt>
                <c:pt idx="6166">
                  <c:v>21.445394356702622</c:v>
                </c:pt>
                <c:pt idx="6167">
                  <c:v>28.025478445229684</c:v>
                </c:pt>
                <c:pt idx="6168">
                  <c:v>27.347658527779036</c:v>
                </c:pt>
                <c:pt idx="6169">
                  <c:v>27.04164113593469</c:v>
                </c:pt>
                <c:pt idx="6170">
                  <c:v>24.094339950925722</c:v>
                </c:pt>
                <c:pt idx="6171">
                  <c:v>24.006540659139738</c:v>
                </c:pt>
                <c:pt idx="6172">
                  <c:v>29.967032547484973</c:v>
                </c:pt>
                <c:pt idx="6173">
                  <c:v>35.01</c:v>
                </c:pt>
                <c:pt idx="6174">
                  <c:v>36.031535150645624</c:v>
                </c:pt>
                <c:pt idx="6175">
                  <c:v>37.776187615526801</c:v>
                </c:pt>
                <c:pt idx="6176">
                  <c:v>40.460793879907627</c:v>
                </c:pt>
                <c:pt idx="6177">
                  <c:v>41.246348418635662</c:v>
                </c:pt>
                <c:pt idx="6178">
                  <c:v>40.732871778193342</c:v>
                </c:pt>
                <c:pt idx="6179">
                  <c:v>40.020623659603679</c:v>
                </c:pt>
                <c:pt idx="6180">
                  <c:v>36.781244270921746</c:v>
                </c:pt>
                <c:pt idx="6181">
                  <c:v>36.712870048644895</c:v>
                </c:pt>
                <c:pt idx="6182">
                  <c:v>35.835906187434453</c:v>
                </c:pt>
                <c:pt idx="6183">
                  <c:v>36.286993440233239</c:v>
                </c:pt>
                <c:pt idx="6184">
                  <c:v>40.659999999999997</c:v>
                </c:pt>
                <c:pt idx="6185">
                  <c:v>45.470000000000006</c:v>
                </c:pt>
                <c:pt idx="6186">
                  <c:v>51.665441194619277</c:v>
                </c:pt>
                <c:pt idx="6187">
                  <c:v>47.95</c:v>
                </c:pt>
                <c:pt idx="6188">
                  <c:v>42.05</c:v>
                </c:pt>
                <c:pt idx="6189">
                  <c:v>37.909999999999997</c:v>
                </c:pt>
                <c:pt idx="6190">
                  <c:v>31.4</c:v>
                </c:pt>
                <c:pt idx="6191">
                  <c:v>31.927881136950905</c:v>
                </c:pt>
                <c:pt idx="6192">
                  <c:v>31.324704805491994</c:v>
                </c:pt>
                <c:pt idx="6193">
                  <c:v>30.900182330515502</c:v>
                </c:pt>
                <c:pt idx="6194">
                  <c:v>30.755923284502703</c:v>
                </c:pt>
                <c:pt idx="6195">
                  <c:v>30.82</c:v>
                </c:pt>
                <c:pt idx="6196">
                  <c:v>31.44</c:v>
                </c:pt>
                <c:pt idx="6197">
                  <c:v>31.939999999999998</c:v>
                </c:pt>
                <c:pt idx="6198">
                  <c:v>34.700000000000003</c:v>
                </c:pt>
                <c:pt idx="6199">
                  <c:v>40.379999999999995</c:v>
                </c:pt>
                <c:pt idx="6200">
                  <c:v>40.920000000000009</c:v>
                </c:pt>
                <c:pt idx="6201">
                  <c:v>40.596156583629892</c:v>
                </c:pt>
                <c:pt idx="6202">
                  <c:v>35.477309840996995</c:v>
                </c:pt>
                <c:pt idx="6203">
                  <c:v>37.93</c:v>
                </c:pt>
                <c:pt idx="6204">
                  <c:v>35.29</c:v>
                </c:pt>
                <c:pt idx="6205">
                  <c:v>33.465540540540538</c:v>
                </c:pt>
                <c:pt idx="6206">
                  <c:v>33.953111587982832</c:v>
                </c:pt>
                <c:pt idx="6207">
                  <c:v>35.5</c:v>
                </c:pt>
                <c:pt idx="6208">
                  <c:v>40.03</c:v>
                </c:pt>
                <c:pt idx="6209">
                  <c:v>44.64</c:v>
                </c:pt>
                <c:pt idx="6210">
                  <c:v>48.01</c:v>
                </c:pt>
                <c:pt idx="6211">
                  <c:v>46.699999999999996</c:v>
                </c:pt>
                <c:pt idx="6212">
                  <c:v>43.54</c:v>
                </c:pt>
                <c:pt idx="6213">
                  <c:v>40.33</c:v>
                </c:pt>
                <c:pt idx="6214">
                  <c:v>35.01</c:v>
                </c:pt>
                <c:pt idx="6215">
                  <c:v>32.568527004909988</c:v>
                </c:pt>
                <c:pt idx="6216">
                  <c:v>30.94131175468484</c:v>
                </c:pt>
                <c:pt idx="6217">
                  <c:v>30.403899456521739</c:v>
                </c:pt>
                <c:pt idx="6218">
                  <c:v>29.515245901639346</c:v>
                </c:pt>
                <c:pt idx="6219">
                  <c:v>29.2280430396772</c:v>
                </c:pt>
                <c:pt idx="6220">
                  <c:v>29.436683804627251</c:v>
                </c:pt>
                <c:pt idx="6221">
                  <c:v>30.019650429799434</c:v>
                </c:pt>
                <c:pt idx="6222">
                  <c:v>30.153979591836734</c:v>
                </c:pt>
                <c:pt idx="6223">
                  <c:v>32.119080949482651</c:v>
                </c:pt>
                <c:pt idx="6224">
                  <c:v>32.790892857142858</c:v>
                </c:pt>
                <c:pt idx="6225">
                  <c:v>32.442513966480448</c:v>
                </c:pt>
                <c:pt idx="6226">
                  <c:v>33.047357992073977</c:v>
                </c:pt>
                <c:pt idx="6227">
                  <c:v>32.43851368970013</c:v>
                </c:pt>
                <c:pt idx="6228">
                  <c:v>30.642807215332578</c:v>
                </c:pt>
                <c:pt idx="6229">
                  <c:v>30.578602362204723</c:v>
                </c:pt>
                <c:pt idx="6230">
                  <c:v>30.669310344827586</c:v>
                </c:pt>
                <c:pt idx="6231">
                  <c:v>30.439232101616625</c:v>
                </c:pt>
                <c:pt idx="6232">
                  <c:v>32.537457044673538</c:v>
                </c:pt>
                <c:pt idx="6233">
                  <c:v>41.089094827586202</c:v>
                </c:pt>
                <c:pt idx="6234">
                  <c:v>45.184858299595142</c:v>
                </c:pt>
                <c:pt idx="6235">
                  <c:v>46.95</c:v>
                </c:pt>
                <c:pt idx="6236">
                  <c:v>42.38</c:v>
                </c:pt>
                <c:pt idx="6237">
                  <c:v>38.270000000000003</c:v>
                </c:pt>
                <c:pt idx="6238">
                  <c:v>33.090000000000003</c:v>
                </c:pt>
                <c:pt idx="6239">
                  <c:v>32.770000000000003</c:v>
                </c:pt>
                <c:pt idx="6240">
                  <c:v>31.746358381502887</c:v>
                </c:pt>
                <c:pt idx="6241">
                  <c:v>31.636056910569106</c:v>
                </c:pt>
                <c:pt idx="6242">
                  <c:v>31.264104803493456</c:v>
                </c:pt>
                <c:pt idx="6243">
                  <c:v>32</c:v>
                </c:pt>
                <c:pt idx="6244">
                  <c:v>32.6</c:v>
                </c:pt>
                <c:pt idx="6245">
                  <c:v>43.89</c:v>
                </c:pt>
                <c:pt idx="6246">
                  <c:v>51.06</c:v>
                </c:pt>
                <c:pt idx="6247">
                  <c:v>55.834230769230771</c:v>
                </c:pt>
                <c:pt idx="6248">
                  <c:v>55.857058823529407</c:v>
                </c:pt>
                <c:pt idx="6249">
                  <c:v>57.47169014084507</c:v>
                </c:pt>
                <c:pt idx="6250">
                  <c:v>50.553142857142859</c:v>
                </c:pt>
                <c:pt idx="6251">
                  <c:v>52.656857142857135</c:v>
                </c:pt>
                <c:pt idx="6252">
                  <c:v>43.197164179104476</c:v>
                </c:pt>
                <c:pt idx="6253">
                  <c:v>41.191621621621628</c:v>
                </c:pt>
                <c:pt idx="6254">
                  <c:v>42.106857962697269</c:v>
                </c:pt>
                <c:pt idx="6255">
                  <c:v>43.919999999999995</c:v>
                </c:pt>
                <c:pt idx="6256">
                  <c:v>45.609999999999992</c:v>
                </c:pt>
                <c:pt idx="6257">
                  <c:v>49.41</c:v>
                </c:pt>
                <c:pt idx="6258">
                  <c:v>52.89</c:v>
                </c:pt>
                <c:pt idx="6259">
                  <c:v>53.14</c:v>
                </c:pt>
                <c:pt idx="6260">
                  <c:v>44.58</c:v>
                </c:pt>
                <c:pt idx="6261">
                  <c:v>37.519999999999996</c:v>
                </c:pt>
                <c:pt idx="6262">
                  <c:v>33.200000000000003</c:v>
                </c:pt>
                <c:pt idx="6263">
                  <c:v>31.140000000000004</c:v>
                </c:pt>
                <c:pt idx="6264">
                  <c:v>30.480000000000004</c:v>
                </c:pt>
                <c:pt idx="6265">
                  <c:v>29.74</c:v>
                </c:pt>
                <c:pt idx="6266">
                  <c:v>29.699999999999996</c:v>
                </c:pt>
                <c:pt idx="6267">
                  <c:v>30.08</c:v>
                </c:pt>
                <c:pt idx="6268">
                  <c:v>31.500000000000004</c:v>
                </c:pt>
                <c:pt idx="6269">
                  <c:v>37.15</c:v>
                </c:pt>
                <c:pt idx="6270">
                  <c:v>45.05</c:v>
                </c:pt>
                <c:pt idx="6271">
                  <c:v>48.1</c:v>
                </c:pt>
                <c:pt idx="6272">
                  <c:v>47.499249429815471</c:v>
                </c:pt>
                <c:pt idx="6273">
                  <c:v>46.442725621414915</c:v>
                </c:pt>
                <c:pt idx="6274">
                  <c:v>42.875383746267453</c:v>
                </c:pt>
                <c:pt idx="6275">
                  <c:v>40.820507171373649</c:v>
                </c:pt>
                <c:pt idx="6276">
                  <c:v>37.934138619947745</c:v>
                </c:pt>
                <c:pt idx="6277">
                  <c:v>38.523681157116748</c:v>
                </c:pt>
                <c:pt idx="6278">
                  <c:v>38.428227373575091</c:v>
                </c:pt>
                <c:pt idx="6279">
                  <c:v>40.250673575129532</c:v>
                </c:pt>
                <c:pt idx="6280">
                  <c:v>42.721242083040117</c:v>
                </c:pt>
                <c:pt idx="6281">
                  <c:v>44.79</c:v>
                </c:pt>
                <c:pt idx="6282">
                  <c:v>51.879934148635932</c:v>
                </c:pt>
                <c:pt idx="6283">
                  <c:v>45.07</c:v>
                </c:pt>
                <c:pt idx="6284">
                  <c:v>39.89</c:v>
                </c:pt>
                <c:pt idx="6285">
                  <c:v>36.08</c:v>
                </c:pt>
                <c:pt idx="6286">
                  <c:v>32.270000000000003</c:v>
                </c:pt>
                <c:pt idx="6287">
                  <c:v>30.028507789678674</c:v>
                </c:pt>
                <c:pt idx="6288">
                  <c:v>29.49</c:v>
                </c:pt>
                <c:pt idx="6289">
                  <c:v>28.74</c:v>
                </c:pt>
                <c:pt idx="6290">
                  <c:v>28.67</c:v>
                </c:pt>
                <c:pt idx="6291">
                  <c:v>27.973208407191692</c:v>
                </c:pt>
                <c:pt idx="6292">
                  <c:v>31.05</c:v>
                </c:pt>
                <c:pt idx="6293">
                  <c:v>38.28</c:v>
                </c:pt>
                <c:pt idx="6294">
                  <c:v>45.329999999999991</c:v>
                </c:pt>
                <c:pt idx="6295">
                  <c:v>48.176912350597604</c:v>
                </c:pt>
                <c:pt idx="6296">
                  <c:v>48.981628008752736</c:v>
                </c:pt>
                <c:pt idx="6297">
                  <c:v>48.285587385019717</c:v>
                </c:pt>
                <c:pt idx="6298">
                  <c:v>47.390010940919034</c:v>
                </c:pt>
                <c:pt idx="6299">
                  <c:v>44.163999999999994</c:v>
                </c:pt>
                <c:pt idx="6300">
                  <c:v>41.279056431345666</c:v>
                </c:pt>
                <c:pt idx="6301">
                  <c:v>40.268654970760238</c:v>
                </c:pt>
                <c:pt idx="6302">
                  <c:v>40.166607740085993</c:v>
                </c:pt>
                <c:pt idx="6303">
                  <c:v>42.393876794812414</c:v>
                </c:pt>
                <c:pt idx="6304">
                  <c:v>43.959729532163735</c:v>
                </c:pt>
                <c:pt idx="6305">
                  <c:v>45.43</c:v>
                </c:pt>
                <c:pt idx="6306">
                  <c:v>55.618438177874182</c:v>
                </c:pt>
                <c:pt idx="6307">
                  <c:v>44.49</c:v>
                </c:pt>
                <c:pt idx="6308">
                  <c:v>39.840000000000003</c:v>
                </c:pt>
                <c:pt idx="6309">
                  <c:v>35.520000000000003</c:v>
                </c:pt>
                <c:pt idx="6310">
                  <c:v>32.82</c:v>
                </c:pt>
                <c:pt idx="6311">
                  <c:v>31.229999999999997</c:v>
                </c:pt>
                <c:pt idx="6312">
                  <c:v>30.410000000000004</c:v>
                </c:pt>
                <c:pt idx="6313">
                  <c:v>29.659999999999997</c:v>
                </c:pt>
                <c:pt idx="6314">
                  <c:v>29.490000000000002</c:v>
                </c:pt>
                <c:pt idx="6315">
                  <c:v>29.98</c:v>
                </c:pt>
                <c:pt idx="6316">
                  <c:v>32.11</c:v>
                </c:pt>
                <c:pt idx="6317">
                  <c:v>38.869999999999997</c:v>
                </c:pt>
                <c:pt idx="6318">
                  <c:v>45.099999999999994</c:v>
                </c:pt>
                <c:pt idx="6319">
                  <c:v>50.969999999999992</c:v>
                </c:pt>
                <c:pt idx="6320">
                  <c:v>47.03</c:v>
                </c:pt>
                <c:pt idx="6321">
                  <c:v>43.474723032069974</c:v>
                </c:pt>
                <c:pt idx="6322">
                  <c:v>41.063202247191015</c:v>
                </c:pt>
                <c:pt idx="6323">
                  <c:v>40.482694656488547</c:v>
                </c:pt>
                <c:pt idx="6324">
                  <c:v>39.309334532374102</c:v>
                </c:pt>
                <c:pt idx="6325">
                  <c:v>38.069326424870468</c:v>
                </c:pt>
                <c:pt idx="6326">
                  <c:v>38.669999999999995</c:v>
                </c:pt>
                <c:pt idx="6327">
                  <c:v>39.347382198952886</c:v>
                </c:pt>
                <c:pt idx="6328">
                  <c:v>41.113633366303993</c:v>
                </c:pt>
                <c:pt idx="6329">
                  <c:v>41.427108298171589</c:v>
                </c:pt>
                <c:pt idx="6330">
                  <c:v>46.562232490272372</c:v>
                </c:pt>
                <c:pt idx="6331">
                  <c:v>38.669968717413965</c:v>
                </c:pt>
                <c:pt idx="6332">
                  <c:v>36.993267796610169</c:v>
                </c:pt>
                <c:pt idx="6333">
                  <c:v>32.5</c:v>
                </c:pt>
                <c:pt idx="6334">
                  <c:v>30.730000000000004</c:v>
                </c:pt>
                <c:pt idx="6335">
                  <c:v>30.639999999999997</c:v>
                </c:pt>
                <c:pt idx="6336">
                  <c:v>30.2</c:v>
                </c:pt>
                <c:pt idx="6337">
                  <c:v>29.430000000000003</c:v>
                </c:pt>
                <c:pt idx="6338">
                  <c:v>29.44</c:v>
                </c:pt>
                <c:pt idx="6339">
                  <c:v>30.209999999999997</c:v>
                </c:pt>
                <c:pt idx="6340">
                  <c:v>31.899999999999995</c:v>
                </c:pt>
                <c:pt idx="6341">
                  <c:v>38.39</c:v>
                </c:pt>
                <c:pt idx="6342">
                  <c:v>44.05</c:v>
                </c:pt>
                <c:pt idx="6343">
                  <c:v>49.8</c:v>
                </c:pt>
                <c:pt idx="6344">
                  <c:v>49.71</c:v>
                </c:pt>
                <c:pt idx="6345">
                  <c:v>47.181682037769001</c:v>
                </c:pt>
                <c:pt idx="6346">
                  <c:v>45.404493789988713</c:v>
                </c:pt>
                <c:pt idx="6347">
                  <c:v>40.476618357487929</c:v>
                </c:pt>
                <c:pt idx="6348">
                  <c:v>38.314501397949684</c:v>
                </c:pt>
                <c:pt idx="6349">
                  <c:v>36.954064837905243</c:v>
                </c:pt>
                <c:pt idx="6350">
                  <c:v>37.161614457831334</c:v>
                </c:pt>
                <c:pt idx="6351">
                  <c:v>37.669577995478534</c:v>
                </c:pt>
                <c:pt idx="6352">
                  <c:v>43.285559157212319</c:v>
                </c:pt>
                <c:pt idx="6353">
                  <c:v>45.92</c:v>
                </c:pt>
                <c:pt idx="6354">
                  <c:v>48.92</c:v>
                </c:pt>
                <c:pt idx="6355">
                  <c:v>47.209999999999994</c:v>
                </c:pt>
                <c:pt idx="6356">
                  <c:v>43.3</c:v>
                </c:pt>
                <c:pt idx="6357">
                  <c:v>39.51</c:v>
                </c:pt>
                <c:pt idx="6358">
                  <c:v>37.95000000000001</c:v>
                </c:pt>
                <c:pt idx="6359">
                  <c:v>34.67</c:v>
                </c:pt>
                <c:pt idx="6360">
                  <c:v>31.99</c:v>
                </c:pt>
                <c:pt idx="6361">
                  <c:v>31.94</c:v>
                </c:pt>
                <c:pt idx="6362">
                  <c:v>31.910000000000004</c:v>
                </c:pt>
                <c:pt idx="6363">
                  <c:v>31.429999999999996</c:v>
                </c:pt>
                <c:pt idx="6364">
                  <c:v>31.81</c:v>
                </c:pt>
                <c:pt idx="6365">
                  <c:v>33.4</c:v>
                </c:pt>
                <c:pt idx="6366">
                  <c:v>39.03</c:v>
                </c:pt>
                <c:pt idx="6367">
                  <c:v>41.540000000000006</c:v>
                </c:pt>
                <c:pt idx="6368">
                  <c:v>42.93</c:v>
                </c:pt>
                <c:pt idx="6369">
                  <c:v>41.910000000000004</c:v>
                </c:pt>
                <c:pt idx="6370">
                  <c:v>39.900000000000006</c:v>
                </c:pt>
                <c:pt idx="6371">
                  <c:v>31.91</c:v>
                </c:pt>
                <c:pt idx="6372">
                  <c:v>32.17</c:v>
                </c:pt>
                <c:pt idx="6373">
                  <c:v>32.119999999999997</c:v>
                </c:pt>
                <c:pt idx="6374">
                  <c:v>32</c:v>
                </c:pt>
                <c:pt idx="6375">
                  <c:v>32.770000000000003</c:v>
                </c:pt>
                <c:pt idx="6376">
                  <c:v>37.22</c:v>
                </c:pt>
                <c:pt idx="6377">
                  <c:v>42.44</c:v>
                </c:pt>
                <c:pt idx="6378">
                  <c:v>45.2</c:v>
                </c:pt>
                <c:pt idx="6379">
                  <c:v>44.93</c:v>
                </c:pt>
                <c:pt idx="6380">
                  <c:v>39.08</c:v>
                </c:pt>
                <c:pt idx="6381">
                  <c:v>35.79</c:v>
                </c:pt>
                <c:pt idx="6382">
                  <c:v>31.719999999999995</c:v>
                </c:pt>
                <c:pt idx="6383">
                  <c:v>31.76</c:v>
                </c:pt>
                <c:pt idx="6384">
                  <c:v>30.51</c:v>
                </c:pt>
                <c:pt idx="6385">
                  <c:v>31.029999999999998</c:v>
                </c:pt>
                <c:pt idx="6386">
                  <c:v>30.77</c:v>
                </c:pt>
                <c:pt idx="6387">
                  <c:v>30.549999999999997</c:v>
                </c:pt>
                <c:pt idx="6388">
                  <c:v>31.059999999999995</c:v>
                </c:pt>
                <c:pt idx="6389">
                  <c:v>31.819999999999997</c:v>
                </c:pt>
                <c:pt idx="6390">
                  <c:v>32.090000000000003</c:v>
                </c:pt>
                <c:pt idx="6391">
                  <c:v>34.899999999999991</c:v>
                </c:pt>
                <c:pt idx="6392">
                  <c:v>35.57</c:v>
                </c:pt>
                <c:pt idx="6393">
                  <c:v>35.25</c:v>
                </c:pt>
                <c:pt idx="6394">
                  <c:v>35.609999999999992</c:v>
                </c:pt>
                <c:pt idx="6395">
                  <c:v>35.21</c:v>
                </c:pt>
                <c:pt idx="6396">
                  <c:v>32.71</c:v>
                </c:pt>
                <c:pt idx="6397">
                  <c:v>31.520000000000003</c:v>
                </c:pt>
                <c:pt idx="6398">
                  <c:v>31.370000000000005</c:v>
                </c:pt>
                <c:pt idx="6399">
                  <c:v>31.619999999999997</c:v>
                </c:pt>
                <c:pt idx="6400">
                  <c:v>35.340000000000003</c:v>
                </c:pt>
                <c:pt idx="6401">
                  <c:v>42.390000000000008</c:v>
                </c:pt>
                <c:pt idx="6402">
                  <c:v>46.94</c:v>
                </c:pt>
                <c:pt idx="6403">
                  <c:v>44.989999999999995</c:v>
                </c:pt>
                <c:pt idx="6404">
                  <c:v>36.82</c:v>
                </c:pt>
                <c:pt idx="6405">
                  <c:v>31.760000000000005</c:v>
                </c:pt>
                <c:pt idx="6406">
                  <c:v>29.99</c:v>
                </c:pt>
                <c:pt idx="6407">
                  <c:v>29.559999999999995</c:v>
                </c:pt>
                <c:pt idx="6408">
                  <c:v>29.26</c:v>
                </c:pt>
                <c:pt idx="6409">
                  <c:v>29.12</c:v>
                </c:pt>
                <c:pt idx="6410">
                  <c:v>29.28</c:v>
                </c:pt>
                <c:pt idx="6411">
                  <c:v>29.520000000000003</c:v>
                </c:pt>
                <c:pt idx="6412">
                  <c:v>31.78</c:v>
                </c:pt>
                <c:pt idx="6413">
                  <c:v>42.04461232604374</c:v>
                </c:pt>
                <c:pt idx="6414">
                  <c:v>39.030056648777581</c:v>
                </c:pt>
                <c:pt idx="6415">
                  <c:v>40.372270736649455</c:v>
                </c:pt>
                <c:pt idx="6416">
                  <c:v>39.170722803601855</c:v>
                </c:pt>
                <c:pt idx="6417">
                  <c:v>39.269418744625966</c:v>
                </c:pt>
                <c:pt idx="6418">
                  <c:v>38.534642066420666</c:v>
                </c:pt>
                <c:pt idx="6419">
                  <c:v>37.588708498324699</c:v>
                </c:pt>
                <c:pt idx="6420">
                  <c:v>36.94536097010716</c:v>
                </c:pt>
                <c:pt idx="6421">
                  <c:v>36.120717610729599</c:v>
                </c:pt>
                <c:pt idx="6422">
                  <c:v>36.594620343160486</c:v>
                </c:pt>
                <c:pt idx="6423">
                  <c:v>37.320261492832422</c:v>
                </c:pt>
                <c:pt idx="6424">
                  <c:v>38.222453613957349</c:v>
                </c:pt>
                <c:pt idx="6425">
                  <c:v>40.123445863551765</c:v>
                </c:pt>
                <c:pt idx="6426">
                  <c:v>40.552619700350654</c:v>
                </c:pt>
                <c:pt idx="6427">
                  <c:v>38.067377720870681</c:v>
                </c:pt>
                <c:pt idx="6428">
                  <c:v>34.971682242990653</c:v>
                </c:pt>
                <c:pt idx="6429">
                  <c:v>31.424713718158447</c:v>
                </c:pt>
                <c:pt idx="6430">
                  <c:v>30.53911798775443</c:v>
                </c:pt>
                <c:pt idx="6431">
                  <c:v>30.533430101040565</c:v>
                </c:pt>
                <c:pt idx="6432">
                  <c:v>29.516133062391813</c:v>
                </c:pt>
                <c:pt idx="6433">
                  <c:v>29.370408267976249</c:v>
                </c:pt>
                <c:pt idx="6434">
                  <c:v>29.418995889606581</c:v>
                </c:pt>
                <c:pt idx="6435">
                  <c:v>30.083865821522686</c:v>
                </c:pt>
                <c:pt idx="6436">
                  <c:v>32.39769447498626</c:v>
                </c:pt>
                <c:pt idx="6437">
                  <c:v>36.484413368759611</c:v>
                </c:pt>
                <c:pt idx="6438">
                  <c:v>40.657549117312072</c:v>
                </c:pt>
                <c:pt idx="6439">
                  <c:v>42.143147501247597</c:v>
                </c:pt>
                <c:pt idx="6440">
                  <c:v>40.641039778623316</c:v>
                </c:pt>
                <c:pt idx="6441">
                  <c:v>38.335092652585203</c:v>
                </c:pt>
                <c:pt idx="6442">
                  <c:v>36.873115411109026</c:v>
                </c:pt>
                <c:pt idx="6443">
                  <c:v>36.090000000000003</c:v>
                </c:pt>
                <c:pt idx="6444">
                  <c:v>35.130000000000003</c:v>
                </c:pt>
                <c:pt idx="6445">
                  <c:v>34.829999999999991</c:v>
                </c:pt>
                <c:pt idx="6446">
                  <c:v>35.9</c:v>
                </c:pt>
                <c:pt idx="6447">
                  <c:v>38.455772228911854</c:v>
                </c:pt>
                <c:pt idx="6448">
                  <c:v>41.53212139791539</c:v>
                </c:pt>
                <c:pt idx="6449">
                  <c:v>46.414249762992327</c:v>
                </c:pt>
                <c:pt idx="6450">
                  <c:v>43.775334909377463</c:v>
                </c:pt>
                <c:pt idx="6451">
                  <c:v>39.103798808735945</c:v>
                </c:pt>
                <c:pt idx="6452">
                  <c:v>34.357878864247311</c:v>
                </c:pt>
                <c:pt idx="6453">
                  <c:v>32.335185897435899</c:v>
                </c:pt>
                <c:pt idx="6454">
                  <c:v>30.709173678150744</c:v>
                </c:pt>
                <c:pt idx="6455">
                  <c:v>31.287586206896549</c:v>
                </c:pt>
                <c:pt idx="6456">
                  <c:v>30.380831395889519</c:v>
                </c:pt>
                <c:pt idx="6457">
                  <c:v>30.256333454281574</c:v>
                </c:pt>
                <c:pt idx="6458">
                  <c:v>30.275482176360224</c:v>
                </c:pt>
                <c:pt idx="6459">
                  <c:v>31.266357827476035</c:v>
                </c:pt>
                <c:pt idx="6460">
                  <c:v>33.462565877029547</c:v>
                </c:pt>
                <c:pt idx="6461">
                  <c:v>40.76755204476261</c:v>
                </c:pt>
                <c:pt idx="6462">
                  <c:v>47.521661205517027</c:v>
                </c:pt>
                <c:pt idx="6463">
                  <c:v>52.381524168965008</c:v>
                </c:pt>
                <c:pt idx="6464">
                  <c:v>48.844086477320893</c:v>
                </c:pt>
                <c:pt idx="6465">
                  <c:v>43.661250398317499</c:v>
                </c:pt>
                <c:pt idx="6466">
                  <c:v>41.16</c:v>
                </c:pt>
                <c:pt idx="6467">
                  <c:v>34.697912754303601</c:v>
                </c:pt>
                <c:pt idx="6468">
                  <c:v>34.906714435671581</c:v>
                </c:pt>
                <c:pt idx="6469">
                  <c:v>34.420000000000009</c:v>
                </c:pt>
                <c:pt idx="6470">
                  <c:v>35.96</c:v>
                </c:pt>
                <c:pt idx="6471">
                  <c:v>37.050191439108275</c:v>
                </c:pt>
                <c:pt idx="6472">
                  <c:v>39.608641813105599</c:v>
                </c:pt>
                <c:pt idx="6473">
                  <c:v>39.373855582524271</c:v>
                </c:pt>
                <c:pt idx="6474">
                  <c:v>40.517439126449609</c:v>
                </c:pt>
                <c:pt idx="6475">
                  <c:v>37.215594622543954</c:v>
                </c:pt>
                <c:pt idx="6476">
                  <c:v>32.948836916886712</c:v>
                </c:pt>
                <c:pt idx="6477">
                  <c:v>31.838505766478654</c:v>
                </c:pt>
                <c:pt idx="6478">
                  <c:v>29.704182863159744</c:v>
                </c:pt>
                <c:pt idx="6479">
                  <c:v>29.764762079062958</c:v>
                </c:pt>
                <c:pt idx="6480">
                  <c:v>29.615216463685659</c:v>
                </c:pt>
                <c:pt idx="6481">
                  <c:v>29.499791767768123</c:v>
                </c:pt>
                <c:pt idx="6482">
                  <c:v>29.100000000000005</c:v>
                </c:pt>
                <c:pt idx="6483">
                  <c:v>29.807683456672237</c:v>
                </c:pt>
                <c:pt idx="6484">
                  <c:v>31.988621741119076</c:v>
                </c:pt>
                <c:pt idx="6485">
                  <c:v>35.204638682792975</c:v>
                </c:pt>
                <c:pt idx="6486">
                  <c:v>38.015131880733939</c:v>
                </c:pt>
                <c:pt idx="6487">
                  <c:v>38.394062218620569</c:v>
                </c:pt>
                <c:pt idx="6488">
                  <c:v>36.961857160872668</c:v>
                </c:pt>
                <c:pt idx="6489">
                  <c:v>35.800059947696646</c:v>
                </c:pt>
                <c:pt idx="6490">
                  <c:v>32.757571208622018</c:v>
                </c:pt>
                <c:pt idx="6491">
                  <c:v>31.709474263088431</c:v>
                </c:pt>
                <c:pt idx="6492">
                  <c:v>31.947380590654763</c:v>
                </c:pt>
                <c:pt idx="6493">
                  <c:v>32.004575653983359</c:v>
                </c:pt>
                <c:pt idx="6494">
                  <c:v>35.460575608321697</c:v>
                </c:pt>
                <c:pt idx="6495">
                  <c:v>35.865970828471411</c:v>
                </c:pt>
                <c:pt idx="6496">
                  <c:v>35.81952362170216</c:v>
                </c:pt>
                <c:pt idx="6497">
                  <c:v>37.075876683062553</c:v>
                </c:pt>
                <c:pt idx="6498">
                  <c:v>37.156776776776773</c:v>
                </c:pt>
                <c:pt idx="6499">
                  <c:v>35.874792373152474</c:v>
                </c:pt>
                <c:pt idx="6500">
                  <c:v>34.34853002502085</c:v>
                </c:pt>
                <c:pt idx="6501">
                  <c:v>32.00922136949557</c:v>
                </c:pt>
                <c:pt idx="6502">
                  <c:v>30.173163636363636</c:v>
                </c:pt>
                <c:pt idx="6503">
                  <c:v>30.395567759778743</c:v>
                </c:pt>
                <c:pt idx="6504">
                  <c:v>30.317467933491685</c:v>
                </c:pt>
                <c:pt idx="6505">
                  <c:v>29.883748960931001</c:v>
                </c:pt>
                <c:pt idx="6506">
                  <c:v>29.957407346805205</c:v>
                </c:pt>
                <c:pt idx="6507">
                  <c:v>30.969999999999995</c:v>
                </c:pt>
                <c:pt idx="6508">
                  <c:v>31.91</c:v>
                </c:pt>
                <c:pt idx="6509">
                  <c:v>35.34358474524808</c:v>
                </c:pt>
                <c:pt idx="6510">
                  <c:v>36.438824026596045</c:v>
                </c:pt>
                <c:pt idx="6511">
                  <c:v>37.429815892997638</c:v>
                </c:pt>
                <c:pt idx="6512">
                  <c:v>37.171444839857642</c:v>
                </c:pt>
                <c:pt idx="6513">
                  <c:v>36.731139023554185</c:v>
                </c:pt>
                <c:pt idx="6514">
                  <c:v>35.826678394518773</c:v>
                </c:pt>
                <c:pt idx="6515">
                  <c:v>33.770192410475687</c:v>
                </c:pt>
                <c:pt idx="6516">
                  <c:v>32.223805064169262</c:v>
                </c:pt>
                <c:pt idx="6517">
                  <c:v>31.80819064430715</c:v>
                </c:pt>
                <c:pt idx="6518">
                  <c:v>31.593824029814471</c:v>
                </c:pt>
                <c:pt idx="6519">
                  <c:v>32.623268464243843</c:v>
                </c:pt>
                <c:pt idx="6520">
                  <c:v>34.425884368946512</c:v>
                </c:pt>
                <c:pt idx="6521">
                  <c:v>35.22635736991802</c:v>
                </c:pt>
                <c:pt idx="6522">
                  <c:v>34.102826741936504</c:v>
                </c:pt>
                <c:pt idx="6523">
                  <c:v>31.676313856724022</c:v>
                </c:pt>
                <c:pt idx="6524">
                  <c:v>29.856321020176011</c:v>
                </c:pt>
                <c:pt idx="6525">
                  <c:v>30.194446809148403</c:v>
                </c:pt>
                <c:pt idx="6526">
                  <c:v>28.517833328267937</c:v>
                </c:pt>
                <c:pt idx="6527">
                  <c:v>15.458519354543515</c:v>
                </c:pt>
                <c:pt idx="6528">
                  <c:v>22.612519747476288</c:v>
                </c:pt>
                <c:pt idx="6529">
                  <c:v>22.313395994709992</c:v>
                </c:pt>
                <c:pt idx="6530">
                  <c:v>22.367337715694326</c:v>
                </c:pt>
                <c:pt idx="6531">
                  <c:v>22.672731867576449</c:v>
                </c:pt>
                <c:pt idx="6532">
                  <c:v>24.580138397567183</c:v>
                </c:pt>
                <c:pt idx="6533">
                  <c:v>25.814296458790349</c:v>
                </c:pt>
                <c:pt idx="6534">
                  <c:v>30.489693296897606</c:v>
                </c:pt>
                <c:pt idx="6535">
                  <c:v>31.272626970804119</c:v>
                </c:pt>
                <c:pt idx="6536">
                  <c:v>33.229818451889749</c:v>
                </c:pt>
                <c:pt idx="6537">
                  <c:v>33.774553743288422</c:v>
                </c:pt>
                <c:pt idx="6538">
                  <c:v>33.371575650950042</c:v>
                </c:pt>
                <c:pt idx="6539">
                  <c:v>31.583638143073458</c:v>
                </c:pt>
                <c:pt idx="6540">
                  <c:v>30.296353947015294</c:v>
                </c:pt>
                <c:pt idx="6541">
                  <c:v>30.105204813516099</c:v>
                </c:pt>
                <c:pt idx="6542">
                  <c:v>33</c:v>
                </c:pt>
                <c:pt idx="6543">
                  <c:v>37.52000000000001</c:v>
                </c:pt>
                <c:pt idx="6544">
                  <c:v>41.77</c:v>
                </c:pt>
                <c:pt idx="6545">
                  <c:v>45.06</c:v>
                </c:pt>
                <c:pt idx="6546">
                  <c:v>48.25</c:v>
                </c:pt>
                <c:pt idx="6547">
                  <c:v>45.01</c:v>
                </c:pt>
                <c:pt idx="6548">
                  <c:v>37.490000000000009</c:v>
                </c:pt>
                <c:pt idx="6549">
                  <c:v>32.18</c:v>
                </c:pt>
                <c:pt idx="6550">
                  <c:v>28.151528754128901</c:v>
                </c:pt>
                <c:pt idx="6551">
                  <c:v>-4.2596226316065708</c:v>
                </c:pt>
                <c:pt idx="6552">
                  <c:v>4.5169474749252165</c:v>
                </c:pt>
                <c:pt idx="6553">
                  <c:v>19.050000000000004</c:v>
                </c:pt>
                <c:pt idx="6554">
                  <c:v>22.150000000000002</c:v>
                </c:pt>
                <c:pt idx="6555">
                  <c:v>22.9</c:v>
                </c:pt>
                <c:pt idx="6556">
                  <c:v>23.099999999999998</c:v>
                </c:pt>
                <c:pt idx="6557">
                  <c:v>25.659999999999997</c:v>
                </c:pt>
                <c:pt idx="6558">
                  <c:v>27.4</c:v>
                </c:pt>
                <c:pt idx="6559">
                  <c:v>32.71</c:v>
                </c:pt>
                <c:pt idx="6560">
                  <c:v>38.11</c:v>
                </c:pt>
                <c:pt idx="6561">
                  <c:v>38.390000000000008</c:v>
                </c:pt>
                <c:pt idx="6562">
                  <c:v>38.58</c:v>
                </c:pt>
                <c:pt idx="6563">
                  <c:v>38.290000000000006</c:v>
                </c:pt>
                <c:pt idx="6564">
                  <c:v>29.679999999999996</c:v>
                </c:pt>
                <c:pt idx="6565">
                  <c:v>26.105922406082289</c:v>
                </c:pt>
                <c:pt idx="6566">
                  <c:v>26.649871710216019</c:v>
                </c:pt>
                <c:pt idx="6567">
                  <c:v>27.839999999999993</c:v>
                </c:pt>
                <c:pt idx="6568">
                  <c:v>29.765297065139585</c:v>
                </c:pt>
                <c:pt idx="6569">
                  <c:v>30.855014426340805</c:v>
                </c:pt>
                <c:pt idx="6570">
                  <c:v>31.327329574577139</c:v>
                </c:pt>
                <c:pt idx="6571">
                  <c:v>29.685199187209239</c:v>
                </c:pt>
                <c:pt idx="6572">
                  <c:v>27.620761154855643</c:v>
                </c:pt>
                <c:pt idx="6573">
                  <c:v>25.049338378626302</c:v>
                </c:pt>
                <c:pt idx="6574">
                  <c:v>13.940000000000001</c:v>
                </c:pt>
                <c:pt idx="6575">
                  <c:v>18.64</c:v>
                </c:pt>
                <c:pt idx="6576">
                  <c:v>12.9</c:v>
                </c:pt>
                <c:pt idx="6577">
                  <c:v>5.7199999999999989</c:v>
                </c:pt>
                <c:pt idx="6578">
                  <c:v>0.34</c:v>
                </c:pt>
                <c:pt idx="6579">
                  <c:v>2.9</c:v>
                </c:pt>
                <c:pt idx="6580">
                  <c:v>9.3699999999999974</c:v>
                </c:pt>
                <c:pt idx="6581">
                  <c:v>13.98</c:v>
                </c:pt>
                <c:pt idx="6582">
                  <c:v>21.32</c:v>
                </c:pt>
                <c:pt idx="6583">
                  <c:v>21.38</c:v>
                </c:pt>
                <c:pt idx="6584">
                  <c:v>21.800000000000004</c:v>
                </c:pt>
                <c:pt idx="6585">
                  <c:v>25.230000000000004</c:v>
                </c:pt>
                <c:pt idx="6586">
                  <c:v>25.29</c:v>
                </c:pt>
                <c:pt idx="6587">
                  <c:v>22.1</c:v>
                </c:pt>
                <c:pt idx="6588">
                  <c:v>16.3</c:v>
                </c:pt>
                <c:pt idx="6589">
                  <c:v>14.6</c:v>
                </c:pt>
                <c:pt idx="6590">
                  <c:v>19.299999999999997</c:v>
                </c:pt>
                <c:pt idx="6591">
                  <c:v>19.899999999999999</c:v>
                </c:pt>
                <c:pt idx="6592">
                  <c:v>31.289999999999996</c:v>
                </c:pt>
                <c:pt idx="6593">
                  <c:v>29.225675425356751</c:v>
                </c:pt>
                <c:pt idx="6594">
                  <c:v>30.559687800705653</c:v>
                </c:pt>
                <c:pt idx="6595">
                  <c:v>29.279999999999998</c:v>
                </c:pt>
                <c:pt idx="6596">
                  <c:v>22.68</c:v>
                </c:pt>
                <c:pt idx="6597">
                  <c:v>15.179999999999998</c:v>
                </c:pt>
                <c:pt idx="6598">
                  <c:v>9.39</c:v>
                </c:pt>
                <c:pt idx="6599">
                  <c:v>13.26</c:v>
                </c:pt>
                <c:pt idx="6600">
                  <c:v>13.950000000000001</c:v>
                </c:pt>
                <c:pt idx="6601">
                  <c:v>12.31</c:v>
                </c:pt>
                <c:pt idx="6602">
                  <c:v>15.09</c:v>
                </c:pt>
                <c:pt idx="6603">
                  <c:v>19.510000000000002</c:v>
                </c:pt>
                <c:pt idx="6604">
                  <c:v>21.579999999999995</c:v>
                </c:pt>
                <c:pt idx="6605">
                  <c:v>28.279999999999998</c:v>
                </c:pt>
                <c:pt idx="6606">
                  <c:v>30.378471824634332</c:v>
                </c:pt>
                <c:pt idx="6607">
                  <c:v>29.929328486847037</c:v>
                </c:pt>
                <c:pt idx="6608">
                  <c:v>29.495724748131902</c:v>
                </c:pt>
                <c:pt idx="6609">
                  <c:v>28.637085907913097</c:v>
                </c:pt>
                <c:pt idx="6610">
                  <c:v>30.097530342090778</c:v>
                </c:pt>
                <c:pt idx="6611">
                  <c:v>25.040354334062066</c:v>
                </c:pt>
                <c:pt idx="6612">
                  <c:v>17.91</c:v>
                </c:pt>
                <c:pt idx="6613">
                  <c:v>11.090000000000002</c:v>
                </c:pt>
                <c:pt idx="6614">
                  <c:v>12.47</c:v>
                </c:pt>
                <c:pt idx="6615">
                  <c:v>16.63</c:v>
                </c:pt>
                <c:pt idx="6616">
                  <c:v>27.755733624237617</c:v>
                </c:pt>
                <c:pt idx="6617">
                  <c:v>27.78258215331703</c:v>
                </c:pt>
                <c:pt idx="6618">
                  <c:v>28.173468813975706</c:v>
                </c:pt>
                <c:pt idx="6619">
                  <c:v>27.721995901531667</c:v>
                </c:pt>
                <c:pt idx="6620">
                  <c:v>27.363613814258514</c:v>
                </c:pt>
                <c:pt idx="6621">
                  <c:v>26.667599026708917</c:v>
                </c:pt>
                <c:pt idx="6622">
                  <c:v>22.294157879737817</c:v>
                </c:pt>
                <c:pt idx="6623">
                  <c:v>10.32011111111111</c:v>
                </c:pt>
                <c:pt idx="6624">
                  <c:v>9.2899999999999991</c:v>
                </c:pt>
                <c:pt idx="6625">
                  <c:v>9.9099999999999984</c:v>
                </c:pt>
                <c:pt idx="6626">
                  <c:v>9.9199999999999982</c:v>
                </c:pt>
                <c:pt idx="6627">
                  <c:v>13.969999999999999</c:v>
                </c:pt>
                <c:pt idx="6628">
                  <c:v>17.839529990728199</c:v>
                </c:pt>
                <c:pt idx="6629">
                  <c:v>29.02</c:v>
                </c:pt>
                <c:pt idx="6630">
                  <c:v>33.000000000000007</c:v>
                </c:pt>
                <c:pt idx="6631">
                  <c:v>33.56</c:v>
                </c:pt>
                <c:pt idx="6632">
                  <c:v>33.24</c:v>
                </c:pt>
                <c:pt idx="6633">
                  <c:v>33.36</c:v>
                </c:pt>
                <c:pt idx="6634">
                  <c:v>31.17</c:v>
                </c:pt>
                <c:pt idx="6635">
                  <c:v>24.351816503945432</c:v>
                </c:pt>
                <c:pt idx="6636">
                  <c:v>22.047446438911408</c:v>
                </c:pt>
                <c:pt idx="6637">
                  <c:v>24.340033256099222</c:v>
                </c:pt>
                <c:pt idx="6638">
                  <c:v>26.018005352905469</c:v>
                </c:pt>
                <c:pt idx="6639">
                  <c:v>25.920189102651815</c:v>
                </c:pt>
                <c:pt idx="6640">
                  <c:v>31.86</c:v>
                </c:pt>
                <c:pt idx="6641">
                  <c:v>33.799999999999997</c:v>
                </c:pt>
                <c:pt idx="6642">
                  <c:v>35.06</c:v>
                </c:pt>
                <c:pt idx="6643">
                  <c:v>30.259999999999998</c:v>
                </c:pt>
                <c:pt idx="6644">
                  <c:v>23.436646565951509</c:v>
                </c:pt>
                <c:pt idx="6645">
                  <c:v>21.856453860640304</c:v>
                </c:pt>
                <c:pt idx="6646">
                  <c:v>4.8119096720973396</c:v>
                </c:pt>
                <c:pt idx="6647">
                  <c:v>4.09</c:v>
                </c:pt>
                <c:pt idx="6648">
                  <c:v>2.09</c:v>
                </c:pt>
                <c:pt idx="6649">
                  <c:v>1.8</c:v>
                </c:pt>
                <c:pt idx="6650">
                  <c:v>8.91</c:v>
                </c:pt>
                <c:pt idx="6651">
                  <c:v>12.46</c:v>
                </c:pt>
                <c:pt idx="6652">
                  <c:v>16.98</c:v>
                </c:pt>
                <c:pt idx="6653">
                  <c:v>31.31</c:v>
                </c:pt>
                <c:pt idx="6654">
                  <c:v>35.840000000000003</c:v>
                </c:pt>
                <c:pt idx="6655">
                  <c:v>41.92</c:v>
                </c:pt>
                <c:pt idx="6656">
                  <c:v>36.22</c:v>
                </c:pt>
                <c:pt idx="6657">
                  <c:v>36.31</c:v>
                </c:pt>
                <c:pt idx="6658">
                  <c:v>34.06</c:v>
                </c:pt>
                <c:pt idx="6659">
                  <c:v>29.204777900265864</c:v>
                </c:pt>
                <c:pt idx="6660">
                  <c:v>27.836021639431848</c:v>
                </c:pt>
                <c:pt idx="6661">
                  <c:v>26.801495763509699</c:v>
                </c:pt>
                <c:pt idx="6662">
                  <c:v>25.670246387358358</c:v>
                </c:pt>
                <c:pt idx="6663">
                  <c:v>25.551562693020383</c:v>
                </c:pt>
                <c:pt idx="6664">
                  <c:v>26.314848753571781</c:v>
                </c:pt>
                <c:pt idx="6665">
                  <c:v>26.836586100696305</c:v>
                </c:pt>
                <c:pt idx="6666">
                  <c:v>30.728161835928773</c:v>
                </c:pt>
                <c:pt idx="6667">
                  <c:v>27.698713752724316</c:v>
                </c:pt>
                <c:pt idx="6668">
                  <c:v>28.740135392189771</c:v>
                </c:pt>
                <c:pt idx="6669">
                  <c:v>14.796290678249246</c:v>
                </c:pt>
                <c:pt idx="6670">
                  <c:v>15.217669326209975</c:v>
                </c:pt>
                <c:pt idx="6671">
                  <c:v>6.3263060649769889</c:v>
                </c:pt>
                <c:pt idx="6672">
                  <c:v>13.444766302031541</c:v>
                </c:pt>
                <c:pt idx="6673">
                  <c:v>23.890175946464151</c:v>
                </c:pt>
                <c:pt idx="6674">
                  <c:v>24.4642256184632</c:v>
                </c:pt>
                <c:pt idx="6675">
                  <c:v>24.930399383066806</c:v>
                </c:pt>
                <c:pt idx="6676">
                  <c:v>14.944424600625295</c:v>
                </c:pt>
                <c:pt idx="6677">
                  <c:v>31.147336637298093</c:v>
                </c:pt>
                <c:pt idx="6678">
                  <c:v>37.869999999999997</c:v>
                </c:pt>
                <c:pt idx="6679">
                  <c:v>34.94</c:v>
                </c:pt>
                <c:pt idx="6680">
                  <c:v>33.979999999999997</c:v>
                </c:pt>
                <c:pt idx="6681">
                  <c:v>32.949999999999996</c:v>
                </c:pt>
                <c:pt idx="6682">
                  <c:v>32.950000000000003</c:v>
                </c:pt>
                <c:pt idx="6683">
                  <c:v>32.130000000000003</c:v>
                </c:pt>
                <c:pt idx="6684">
                  <c:v>30.35</c:v>
                </c:pt>
                <c:pt idx="6685">
                  <c:v>29.450000000000003</c:v>
                </c:pt>
                <c:pt idx="6686">
                  <c:v>29.435135015248129</c:v>
                </c:pt>
                <c:pt idx="6687">
                  <c:v>31.63</c:v>
                </c:pt>
                <c:pt idx="6688">
                  <c:v>34.922341692224428</c:v>
                </c:pt>
                <c:pt idx="6689">
                  <c:v>36.220618046971566</c:v>
                </c:pt>
                <c:pt idx="6690">
                  <c:v>34.659487948522198</c:v>
                </c:pt>
                <c:pt idx="6691">
                  <c:v>31.844368567856108</c:v>
                </c:pt>
                <c:pt idx="6692">
                  <c:v>28.524923924560291</c:v>
                </c:pt>
                <c:pt idx="6693">
                  <c:v>28.12818217510797</c:v>
                </c:pt>
                <c:pt idx="6694">
                  <c:v>26.87</c:v>
                </c:pt>
                <c:pt idx="6695">
                  <c:v>16.741299905901329</c:v>
                </c:pt>
                <c:pt idx="6696">
                  <c:v>15.047781311475408</c:v>
                </c:pt>
                <c:pt idx="6697">
                  <c:v>14.221224349025695</c:v>
                </c:pt>
                <c:pt idx="6698">
                  <c:v>14.299892239794039</c:v>
                </c:pt>
                <c:pt idx="6699">
                  <c:v>12.717244016075682</c:v>
                </c:pt>
                <c:pt idx="6700">
                  <c:v>13.064239601386479</c:v>
                </c:pt>
                <c:pt idx="6701">
                  <c:v>14.571156743808677</c:v>
                </c:pt>
                <c:pt idx="6702">
                  <c:v>15.485781685972773</c:v>
                </c:pt>
                <c:pt idx="6703">
                  <c:v>25.761801305788346</c:v>
                </c:pt>
                <c:pt idx="6704">
                  <c:v>21.103962565624286</c:v>
                </c:pt>
                <c:pt idx="6705">
                  <c:v>17.39605337320987</c:v>
                </c:pt>
                <c:pt idx="6706">
                  <c:v>28.276967441860464</c:v>
                </c:pt>
                <c:pt idx="6707">
                  <c:v>28.452754548122062</c:v>
                </c:pt>
                <c:pt idx="6708">
                  <c:v>28.628072117902295</c:v>
                </c:pt>
                <c:pt idx="6709">
                  <c:v>28.549222115516532</c:v>
                </c:pt>
                <c:pt idx="6710">
                  <c:v>28.452541062801931</c:v>
                </c:pt>
                <c:pt idx="6711">
                  <c:v>28.729228243021346</c:v>
                </c:pt>
                <c:pt idx="6712">
                  <c:v>29.312864981247394</c:v>
                </c:pt>
                <c:pt idx="6713">
                  <c:v>30.295463112943601</c:v>
                </c:pt>
                <c:pt idx="6714">
                  <c:v>29.608657456074486</c:v>
                </c:pt>
                <c:pt idx="6715">
                  <c:v>28.580031377470977</c:v>
                </c:pt>
                <c:pt idx="6716">
                  <c:v>27.699293355650976</c:v>
                </c:pt>
                <c:pt idx="6717">
                  <c:v>27.306616541353382</c:v>
                </c:pt>
                <c:pt idx="6718">
                  <c:v>8.3186172975525299</c:v>
                </c:pt>
                <c:pt idx="6719">
                  <c:v>27.37</c:v>
                </c:pt>
                <c:pt idx="6720">
                  <c:v>26.949999999999996</c:v>
                </c:pt>
                <c:pt idx="6721">
                  <c:v>26.49</c:v>
                </c:pt>
                <c:pt idx="6722">
                  <c:v>26.32</c:v>
                </c:pt>
                <c:pt idx="6723">
                  <c:v>26.37</c:v>
                </c:pt>
                <c:pt idx="6724">
                  <c:v>26.39</c:v>
                </c:pt>
                <c:pt idx="6725">
                  <c:v>26.370000000000005</c:v>
                </c:pt>
                <c:pt idx="6726">
                  <c:v>26.650000000000002</c:v>
                </c:pt>
                <c:pt idx="6727">
                  <c:v>27.97</c:v>
                </c:pt>
                <c:pt idx="6728">
                  <c:v>29.669999999999998</c:v>
                </c:pt>
                <c:pt idx="6729">
                  <c:v>32.479999999999997</c:v>
                </c:pt>
                <c:pt idx="6730">
                  <c:v>33.200000000000003</c:v>
                </c:pt>
                <c:pt idx="6731">
                  <c:v>30.21</c:v>
                </c:pt>
                <c:pt idx="6732">
                  <c:v>28.171219724257856</c:v>
                </c:pt>
                <c:pt idx="6733">
                  <c:v>27.399999999999995</c:v>
                </c:pt>
                <c:pt idx="6734">
                  <c:v>23.961753775942629</c:v>
                </c:pt>
                <c:pt idx="6735">
                  <c:v>27.6567396593674</c:v>
                </c:pt>
                <c:pt idx="6736">
                  <c:v>32.234188266335558</c:v>
                </c:pt>
                <c:pt idx="6737">
                  <c:v>39.739999999999995</c:v>
                </c:pt>
                <c:pt idx="6738">
                  <c:v>40.090000000000003</c:v>
                </c:pt>
                <c:pt idx="6739">
                  <c:v>32.989999999999995</c:v>
                </c:pt>
                <c:pt idx="6740">
                  <c:v>30.36</c:v>
                </c:pt>
                <c:pt idx="6741">
                  <c:v>29.399999999999995</c:v>
                </c:pt>
                <c:pt idx="6742">
                  <c:v>28.69</c:v>
                </c:pt>
                <c:pt idx="6743">
                  <c:v>29.360000000000003</c:v>
                </c:pt>
                <c:pt idx="6744">
                  <c:v>29.200000000000003</c:v>
                </c:pt>
                <c:pt idx="6745">
                  <c:v>29.130000000000003</c:v>
                </c:pt>
                <c:pt idx="6746">
                  <c:v>29.149999999999995</c:v>
                </c:pt>
                <c:pt idx="6747">
                  <c:v>29.280000000000005</c:v>
                </c:pt>
                <c:pt idx="6748">
                  <c:v>30.79</c:v>
                </c:pt>
                <c:pt idx="6749">
                  <c:v>38.170000000000009</c:v>
                </c:pt>
                <c:pt idx="6750">
                  <c:v>51.39</c:v>
                </c:pt>
                <c:pt idx="6751">
                  <c:v>54.749999999999993</c:v>
                </c:pt>
                <c:pt idx="6752">
                  <c:v>51.14</c:v>
                </c:pt>
                <c:pt idx="6753">
                  <c:v>51.139999999999993</c:v>
                </c:pt>
                <c:pt idx="6754">
                  <c:v>47.12</c:v>
                </c:pt>
                <c:pt idx="6755">
                  <c:v>41.21</c:v>
                </c:pt>
                <c:pt idx="6756">
                  <c:v>39.94</c:v>
                </c:pt>
                <c:pt idx="6757">
                  <c:v>40.06</c:v>
                </c:pt>
                <c:pt idx="6758">
                  <c:v>41.41</c:v>
                </c:pt>
                <c:pt idx="6759">
                  <c:v>43.79</c:v>
                </c:pt>
                <c:pt idx="6760">
                  <c:v>50.52</c:v>
                </c:pt>
                <c:pt idx="6761">
                  <c:v>59.83</c:v>
                </c:pt>
                <c:pt idx="6762">
                  <c:v>62.010000000000012</c:v>
                </c:pt>
                <c:pt idx="6763">
                  <c:v>46.360000000000007</c:v>
                </c:pt>
                <c:pt idx="6764">
                  <c:v>38.58</c:v>
                </c:pt>
                <c:pt idx="6765">
                  <c:v>37.219999999999992</c:v>
                </c:pt>
                <c:pt idx="6766">
                  <c:v>32.93</c:v>
                </c:pt>
                <c:pt idx="6767">
                  <c:v>29.849999999999998</c:v>
                </c:pt>
                <c:pt idx="6768">
                  <c:v>29.7</c:v>
                </c:pt>
                <c:pt idx="6769">
                  <c:v>29.7</c:v>
                </c:pt>
                <c:pt idx="6770">
                  <c:v>29.719999999999995</c:v>
                </c:pt>
                <c:pt idx="6771">
                  <c:v>30.010000000000005</c:v>
                </c:pt>
                <c:pt idx="6772">
                  <c:v>31.51</c:v>
                </c:pt>
                <c:pt idx="6773">
                  <c:v>37.78</c:v>
                </c:pt>
                <c:pt idx="6774">
                  <c:v>48.85</c:v>
                </c:pt>
                <c:pt idx="6775">
                  <c:v>56.939999999999991</c:v>
                </c:pt>
                <c:pt idx="6776">
                  <c:v>55.609999999999992</c:v>
                </c:pt>
                <c:pt idx="6777">
                  <c:v>43.287516728624539</c:v>
                </c:pt>
                <c:pt idx="6778">
                  <c:v>43.030889087124592</c:v>
                </c:pt>
                <c:pt idx="6779">
                  <c:v>40.602128545923428</c:v>
                </c:pt>
                <c:pt idx="6780">
                  <c:v>38.789511446119484</c:v>
                </c:pt>
                <c:pt idx="6781">
                  <c:v>38.349918610960394</c:v>
                </c:pt>
                <c:pt idx="6782">
                  <c:v>36.881596689697069</c:v>
                </c:pt>
                <c:pt idx="6783">
                  <c:v>35.989033867156728</c:v>
                </c:pt>
                <c:pt idx="6784">
                  <c:v>38.141045646379382</c:v>
                </c:pt>
                <c:pt idx="6785">
                  <c:v>42.368760668829545</c:v>
                </c:pt>
                <c:pt idx="6786">
                  <c:v>41.678891187244126</c:v>
                </c:pt>
                <c:pt idx="6787">
                  <c:v>35.572298797986939</c:v>
                </c:pt>
                <c:pt idx="6788">
                  <c:v>33.03</c:v>
                </c:pt>
                <c:pt idx="6789">
                  <c:v>30.651073814295263</c:v>
                </c:pt>
                <c:pt idx="6790">
                  <c:v>24.577451805894086</c:v>
                </c:pt>
                <c:pt idx="6791">
                  <c:v>27.280000000000005</c:v>
                </c:pt>
                <c:pt idx="6792">
                  <c:v>26.76</c:v>
                </c:pt>
                <c:pt idx="6793">
                  <c:v>26.680000000000003</c:v>
                </c:pt>
                <c:pt idx="6794">
                  <c:v>26.252309063893016</c:v>
                </c:pt>
                <c:pt idx="6795">
                  <c:v>27.546621926460638</c:v>
                </c:pt>
                <c:pt idx="6796">
                  <c:v>30.211912878787878</c:v>
                </c:pt>
                <c:pt idx="6797">
                  <c:v>38.93</c:v>
                </c:pt>
                <c:pt idx="6798">
                  <c:v>48.329467592592593</c:v>
                </c:pt>
                <c:pt idx="6799">
                  <c:v>53.318189241966984</c:v>
                </c:pt>
                <c:pt idx="6800">
                  <c:v>49.496251872939766</c:v>
                </c:pt>
                <c:pt idx="6801">
                  <c:v>45.538068718016888</c:v>
                </c:pt>
                <c:pt idx="6802">
                  <c:v>38.909999999999997</c:v>
                </c:pt>
                <c:pt idx="6803">
                  <c:v>32.139332819128427</c:v>
                </c:pt>
                <c:pt idx="6804">
                  <c:v>31.81</c:v>
                </c:pt>
                <c:pt idx="6805">
                  <c:v>30.539999999999992</c:v>
                </c:pt>
                <c:pt idx="6806">
                  <c:v>29.950389329488107</c:v>
                </c:pt>
                <c:pt idx="6807">
                  <c:v>30.926407851199844</c:v>
                </c:pt>
                <c:pt idx="6808">
                  <c:v>31.864151337407488</c:v>
                </c:pt>
                <c:pt idx="6809">
                  <c:v>32.31344570710759</c:v>
                </c:pt>
                <c:pt idx="6810">
                  <c:v>33.179665967121373</c:v>
                </c:pt>
                <c:pt idx="6811">
                  <c:v>32.126747778846699</c:v>
                </c:pt>
                <c:pt idx="6812">
                  <c:v>31.93</c:v>
                </c:pt>
                <c:pt idx="6813">
                  <c:v>29.58</c:v>
                </c:pt>
                <c:pt idx="6814">
                  <c:v>22.09</c:v>
                </c:pt>
                <c:pt idx="6815">
                  <c:v>13.32</c:v>
                </c:pt>
                <c:pt idx="6816">
                  <c:v>12.659999999999998</c:v>
                </c:pt>
                <c:pt idx="6817">
                  <c:v>12.670000000000002</c:v>
                </c:pt>
                <c:pt idx="6818">
                  <c:v>9.6999999999999993</c:v>
                </c:pt>
                <c:pt idx="6819">
                  <c:v>10.28</c:v>
                </c:pt>
                <c:pt idx="6820">
                  <c:v>11.17</c:v>
                </c:pt>
                <c:pt idx="6821">
                  <c:v>28.04</c:v>
                </c:pt>
                <c:pt idx="6822">
                  <c:v>38.090000000000011</c:v>
                </c:pt>
                <c:pt idx="6823">
                  <c:v>36.595119225421023</c:v>
                </c:pt>
                <c:pt idx="6824">
                  <c:v>30.54</c:v>
                </c:pt>
                <c:pt idx="6825">
                  <c:v>21.489999999999995</c:v>
                </c:pt>
                <c:pt idx="6826">
                  <c:v>17.52</c:v>
                </c:pt>
                <c:pt idx="6827">
                  <c:v>12.78</c:v>
                </c:pt>
                <c:pt idx="6828">
                  <c:v>13.539999999999997</c:v>
                </c:pt>
                <c:pt idx="6829">
                  <c:v>15.120000000000001</c:v>
                </c:pt>
                <c:pt idx="6830">
                  <c:v>21.62</c:v>
                </c:pt>
                <c:pt idx="6831">
                  <c:v>26.04</c:v>
                </c:pt>
                <c:pt idx="6832">
                  <c:v>34.930000000000007</c:v>
                </c:pt>
                <c:pt idx="6833">
                  <c:v>32.176038695099557</c:v>
                </c:pt>
                <c:pt idx="6834">
                  <c:v>33.317678641539075</c:v>
                </c:pt>
                <c:pt idx="6835">
                  <c:v>31.951784130113356</c:v>
                </c:pt>
                <c:pt idx="6836">
                  <c:v>30.824342797055728</c:v>
                </c:pt>
                <c:pt idx="6837">
                  <c:v>30.273666615313509</c:v>
                </c:pt>
                <c:pt idx="6838">
                  <c:v>27.38</c:v>
                </c:pt>
                <c:pt idx="6839">
                  <c:v>26.66</c:v>
                </c:pt>
                <c:pt idx="6840">
                  <c:v>26.339999999999996</c:v>
                </c:pt>
                <c:pt idx="6841">
                  <c:v>26.56</c:v>
                </c:pt>
                <c:pt idx="6842">
                  <c:v>27.492723397187465</c:v>
                </c:pt>
                <c:pt idx="6843">
                  <c:v>28.302491663710537</c:v>
                </c:pt>
                <c:pt idx="6844">
                  <c:v>29.690750708215294</c:v>
                </c:pt>
                <c:pt idx="6845">
                  <c:v>34.881503290613097</c:v>
                </c:pt>
                <c:pt idx="6846">
                  <c:v>43.893755784061696</c:v>
                </c:pt>
                <c:pt idx="6847">
                  <c:v>54.300142167731835</c:v>
                </c:pt>
                <c:pt idx="6848">
                  <c:v>46.995951940850283</c:v>
                </c:pt>
                <c:pt idx="6849">
                  <c:v>43.908754110801922</c:v>
                </c:pt>
                <c:pt idx="6850">
                  <c:v>44.399999999999991</c:v>
                </c:pt>
                <c:pt idx="6851">
                  <c:v>37.932482793780267</c:v>
                </c:pt>
                <c:pt idx="6852">
                  <c:v>33.568210314802407</c:v>
                </c:pt>
                <c:pt idx="6853">
                  <c:v>29.878191971023242</c:v>
                </c:pt>
                <c:pt idx="6854">
                  <c:v>29.384655201017527</c:v>
                </c:pt>
                <c:pt idx="6855">
                  <c:v>29.806004484960756</c:v>
                </c:pt>
                <c:pt idx="6856">
                  <c:v>31.321056047679306</c:v>
                </c:pt>
                <c:pt idx="6857">
                  <c:v>33.604096348096348</c:v>
                </c:pt>
                <c:pt idx="6858">
                  <c:v>32.081458074874114</c:v>
                </c:pt>
                <c:pt idx="6859">
                  <c:v>30.415395442359255</c:v>
                </c:pt>
                <c:pt idx="6860">
                  <c:v>29.472056272757367</c:v>
                </c:pt>
                <c:pt idx="6861">
                  <c:v>28.445995444191343</c:v>
                </c:pt>
                <c:pt idx="6862">
                  <c:v>27.412192625128402</c:v>
                </c:pt>
                <c:pt idx="6863">
                  <c:v>26.76</c:v>
                </c:pt>
                <c:pt idx="6864">
                  <c:v>25.92</c:v>
                </c:pt>
                <c:pt idx="6865">
                  <c:v>25.4</c:v>
                </c:pt>
                <c:pt idx="6866">
                  <c:v>25.33</c:v>
                </c:pt>
                <c:pt idx="6867">
                  <c:v>25.540000000000003</c:v>
                </c:pt>
                <c:pt idx="6868">
                  <c:v>26.100000000000005</c:v>
                </c:pt>
                <c:pt idx="6869">
                  <c:v>26.894908108550613</c:v>
                </c:pt>
                <c:pt idx="6870">
                  <c:v>28.602268365251639</c:v>
                </c:pt>
                <c:pt idx="6871">
                  <c:v>30.402724562057401</c:v>
                </c:pt>
                <c:pt idx="6872">
                  <c:v>33.252808092679651</c:v>
                </c:pt>
                <c:pt idx="6873">
                  <c:v>28.04</c:v>
                </c:pt>
                <c:pt idx="6874">
                  <c:v>22.86</c:v>
                </c:pt>
                <c:pt idx="6875">
                  <c:v>26.069999999999997</c:v>
                </c:pt>
                <c:pt idx="6876">
                  <c:v>12.67</c:v>
                </c:pt>
                <c:pt idx="6877">
                  <c:v>13.31</c:v>
                </c:pt>
                <c:pt idx="6878">
                  <c:v>26.42</c:v>
                </c:pt>
                <c:pt idx="6879">
                  <c:v>31.44</c:v>
                </c:pt>
                <c:pt idx="6880">
                  <c:v>40.020000000000003</c:v>
                </c:pt>
                <c:pt idx="6881">
                  <c:v>35.184715282466804</c:v>
                </c:pt>
                <c:pt idx="6882">
                  <c:v>34.541863321189332</c:v>
                </c:pt>
                <c:pt idx="6883">
                  <c:v>31.633956939483873</c:v>
                </c:pt>
                <c:pt idx="6884">
                  <c:v>30.777340803082538</c:v>
                </c:pt>
                <c:pt idx="6885">
                  <c:v>30.612475322703112</c:v>
                </c:pt>
                <c:pt idx="6886">
                  <c:v>28.084773510271788</c:v>
                </c:pt>
                <c:pt idx="6887">
                  <c:v>29.602301730103807</c:v>
                </c:pt>
                <c:pt idx="6888">
                  <c:v>28.172287480680055</c:v>
                </c:pt>
                <c:pt idx="6889">
                  <c:v>27.566397424641494</c:v>
                </c:pt>
                <c:pt idx="6890">
                  <c:v>26.953456135701032</c:v>
                </c:pt>
                <c:pt idx="6891">
                  <c:v>27.140510478237506</c:v>
                </c:pt>
                <c:pt idx="6892">
                  <c:v>26.960307006035162</c:v>
                </c:pt>
                <c:pt idx="6893">
                  <c:v>26.976480057234838</c:v>
                </c:pt>
                <c:pt idx="6894">
                  <c:v>35.9</c:v>
                </c:pt>
                <c:pt idx="6895">
                  <c:v>34.22</c:v>
                </c:pt>
                <c:pt idx="6896">
                  <c:v>33.24</c:v>
                </c:pt>
                <c:pt idx="6897">
                  <c:v>31.58</c:v>
                </c:pt>
                <c:pt idx="6898">
                  <c:v>30.97</c:v>
                </c:pt>
                <c:pt idx="6899">
                  <c:v>23.067283108019424</c:v>
                </c:pt>
                <c:pt idx="6900">
                  <c:v>17.07</c:v>
                </c:pt>
                <c:pt idx="6901">
                  <c:v>22.637326101436866</c:v>
                </c:pt>
                <c:pt idx="6902">
                  <c:v>26.63</c:v>
                </c:pt>
                <c:pt idx="6903">
                  <c:v>28.029999999999998</c:v>
                </c:pt>
                <c:pt idx="6904">
                  <c:v>31.795294832826745</c:v>
                </c:pt>
                <c:pt idx="6905">
                  <c:v>30.940965780480226</c:v>
                </c:pt>
                <c:pt idx="6906">
                  <c:v>31.936288315509078</c:v>
                </c:pt>
                <c:pt idx="6907">
                  <c:v>28.623445185014937</c:v>
                </c:pt>
                <c:pt idx="6908">
                  <c:v>28.000870214395093</c:v>
                </c:pt>
                <c:pt idx="6909">
                  <c:v>29.09</c:v>
                </c:pt>
                <c:pt idx="6910">
                  <c:v>18.399999999999999</c:v>
                </c:pt>
                <c:pt idx="6911">
                  <c:v>22.989999999999995</c:v>
                </c:pt>
                <c:pt idx="6912">
                  <c:v>21.26</c:v>
                </c:pt>
                <c:pt idx="6913">
                  <c:v>21.860000000000003</c:v>
                </c:pt>
                <c:pt idx="6914">
                  <c:v>21.79</c:v>
                </c:pt>
                <c:pt idx="6915">
                  <c:v>22.93</c:v>
                </c:pt>
                <c:pt idx="6916">
                  <c:v>20.279081929110983</c:v>
                </c:pt>
                <c:pt idx="6917">
                  <c:v>38.912101910828028</c:v>
                </c:pt>
                <c:pt idx="6918">
                  <c:v>36.780629852378354</c:v>
                </c:pt>
                <c:pt idx="6919">
                  <c:v>42.759856893542761</c:v>
                </c:pt>
                <c:pt idx="6920">
                  <c:v>39.481371774989434</c:v>
                </c:pt>
                <c:pt idx="6921">
                  <c:v>36.998171812901255</c:v>
                </c:pt>
                <c:pt idx="6922">
                  <c:v>33.159999999999997</c:v>
                </c:pt>
                <c:pt idx="6923">
                  <c:v>29.563846153846153</c:v>
                </c:pt>
                <c:pt idx="6924">
                  <c:v>31.68</c:v>
                </c:pt>
                <c:pt idx="6925">
                  <c:v>38.325298507462691</c:v>
                </c:pt>
                <c:pt idx="6926">
                  <c:v>32.011286463798527</c:v>
                </c:pt>
                <c:pt idx="6927">
                  <c:v>40.295743348982782</c:v>
                </c:pt>
                <c:pt idx="6928">
                  <c:v>50.899999999999991</c:v>
                </c:pt>
                <c:pt idx="6929">
                  <c:v>63.469999999999992</c:v>
                </c:pt>
                <c:pt idx="6930">
                  <c:v>43.503337084974682</c:v>
                </c:pt>
                <c:pt idx="6931">
                  <c:v>38.480740740740728</c:v>
                </c:pt>
                <c:pt idx="6932">
                  <c:v>28.919184782608696</c:v>
                </c:pt>
                <c:pt idx="6933">
                  <c:v>27.686269321456642</c:v>
                </c:pt>
                <c:pt idx="6934">
                  <c:v>26.542653220559529</c:v>
                </c:pt>
                <c:pt idx="6935">
                  <c:v>3.2677736707421094</c:v>
                </c:pt>
                <c:pt idx="6936">
                  <c:v>25.276508514707221</c:v>
                </c:pt>
                <c:pt idx="6937">
                  <c:v>24.917788856304984</c:v>
                </c:pt>
                <c:pt idx="6938">
                  <c:v>24.915698706568602</c:v>
                </c:pt>
                <c:pt idx="6939">
                  <c:v>25.720822558258451</c:v>
                </c:pt>
                <c:pt idx="6940">
                  <c:v>26.961518236665292</c:v>
                </c:pt>
                <c:pt idx="6941">
                  <c:v>29.098261903903687</c:v>
                </c:pt>
                <c:pt idx="6942">
                  <c:v>32.107001945088655</c:v>
                </c:pt>
                <c:pt idx="6943">
                  <c:v>32.081757509854555</c:v>
                </c:pt>
                <c:pt idx="6944">
                  <c:v>30.24655354898459</c:v>
                </c:pt>
                <c:pt idx="6945">
                  <c:v>29.367474375251604</c:v>
                </c:pt>
                <c:pt idx="6946">
                  <c:v>28.758257056568706</c:v>
                </c:pt>
                <c:pt idx="6947">
                  <c:v>28.292523283891001</c:v>
                </c:pt>
                <c:pt idx="6948">
                  <c:v>28.382001774336644</c:v>
                </c:pt>
                <c:pt idx="6949">
                  <c:v>28.282741064608743</c:v>
                </c:pt>
                <c:pt idx="6950">
                  <c:v>28.721543880784644</c:v>
                </c:pt>
                <c:pt idx="6951">
                  <c:v>29.131586489252811</c:v>
                </c:pt>
                <c:pt idx="6952">
                  <c:v>31.101130759651308</c:v>
                </c:pt>
                <c:pt idx="6953">
                  <c:v>33.186464777969604</c:v>
                </c:pt>
                <c:pt idx="6954">
                  <c:v>33.567824125927046</c:v>
                </c:pt>
                <c:pt idx="6955">
                  <c:v>30.638056548081405</c:v>
                </c:pt>
                <c:pt idx="6956">
                  <c:v>29.694816381999573</c:v>
                </c:pt>
                <c:pt idx="6957">
                  <c:v>28.641161543412302</c:v>
                </c:pt>
                <c:pt idx="6958">
                  <c:v>27.218609918857112</c:v>
                </c:pt>
                <c:pt idx="6959">
                  <c:v>26.624536147852872</c:v>
                </c:pt>
                <c:pt idx="6960">
                  <c:v>22.230000000000004</c:v>
                </c:pt>
                <c:pt idx="6961">
                  <c:v>21.39</c:v>
                </c:pt>
                <c:pt idx="6962">
                  <c:v>21.57</c:v>
                </c:pt>
                <c:pt idx="6963">
                  <c:v>22.356099823692382</c:v>
                </c:pt>
                <c:pt idx="6964">
                  <c:v>13.114095233542097</c:v>
                </c:pt>
                <c:pt idx="6965">
                  <c:v>40.890085822176452</c:v>
                </c:pt>
                <c:pt idx="6966">
                  <c:v>45.217248177354563</c:v>
                </c:pt>
                <c:pt idx="6967">
                  <c:v>44.267305202054033</c:v>
                </c:pt>
                <c:pt idx="6968">
                  <c:v>59.104058898847626</c:v>
                </c:pt>
                <c:pt idx="6969">
                  <c:v>64.42</c:v>
                </c:pt>
                <c:pt idx="6970">
                  <c:v>63.08</c:v>
                </c:pt>
                <c:pt idx="6971">
                  <c:v>47.929999999999993</c:v>
                </c:pt>
                <c:pt idx="6972">
                  <c:v>45.969999999999992</c:v>
                </c:pt>
                <c:pt idx="6973">
                  <c:v>46.07</c:v>
                </c:pt>
                <c:pt idx="6974">
                  <c:v>55.839999999999996</c:v>
                </c:pt>
                <c:pt idx="6975">
                  <c:v>62.65</c:v>
                </c:pt>
                <c:pt idx="6976">
                  <c:v>65.66</c:v>
                </c:pt>
                <c:pt idx="6977">
                  <c:v>73.41</c:v>
                </c:pt>
                <c:pt idx="6978">
                  <c:v>83.019999999999982</c:v>
                </c:pt>
                <c:pt idx="6979">
                  <c:v>63.47</c:v>
                </c:pt>
                <c:pt idx="6980">
                  <c:v>50.02</c:v>
                </c:pt>
                <c:pt idx="6981">
                  <c:v>40.45000000000001</c:v>
                </c:pt>
                <c:pt idx="6982">
                  <c:v>36.94</c:v>
                </c:pt>
                <c:pt idx="6983">
                  <c:v>34.28</c:v>
                </c:pt>
                <c:pt idx="6984">
                  <c:v>34.26</c:v>
                </c:pt>
                <c:pt idx="6985">
                  <c:v>33.590000000000003</c:v>
                </c:pt>
                <c:pt idx="6986">
                  <c:v>27.970000000000002</c:v>
                </c:pt>
                <c:pt idx="6987">
                  <c:v>28.280000000000005</c:v>
                </c:pt>
                <c:pt idx="6988">
                  <c:v>29.11</c:v>
                </c:pt>
                <c:pt idx="6989">
                  <c:v>39.834943886591851</c:v>
                </c:pt>
                <c:pt idx="6990">
                  <c:v>59.97</c:v>
                </c:pt>
                <c:pt idx="6991">
                  <c:v>68.540000000000006</c:v>
                </c:pt>
                <c:pt idx="6992">
                  <c:v>66.989999999999995</c:v>
                </c:pt>
                <c:pt idx="6993">
                  <c:v>60.58</c:v>
                </c:pt>
                <c:pt idx="6994">
                  <c:v>49.97</c:v>
                </c:pt>
                <c:pt idx="6995">
                  <c:v>46.570000000000007</c:v>
                </c:pt>
                <c:pt idx="6996">
                  <c:v>41.55</c:v>
                </c:pt>
                <c:pt idx="6997">
                  <c:v>40.529999999999994</c:v>
                </c:pt>
                <c:pt idx="6998">
                  <c:v>42.58</c:v>
                </c:pt>
                <c:pt idx="6999">
                  <c:v>43.920000000000009</c:v>
                </c:pt>
                <c:pt idx="7000">
                  <c:v>46.1</c:v>
                </c:pt>
                <c:pt idx="7001">
                  <c:v>47.175560298826035</c:v>
                </c:pt>
                <c:pt idx="7002">
                  <c:v>38.413903507009998</c:v>
                </c:pt>
                <c:pt idx="7003">
                  <c:v>31.731507272112292</c:v>
                </c:pt>
                <c:pt idx="7004">
                  <c:v>29.13</c:v>
                </c:pt>
                <c:pt idx="7005">
                  <c:v>28.460000000000004</c:v>
                </c:pt>
                <c:pt idx="7006">
                  <c:v>27.82</c:v>
                </c:pt>
                <c:pt idx="7007">
                  <c:v>28.683630521361334</c:v>
                </c:pt>
                <c:pt idx="7008">
                  <c:v>28.29</c:v>
                </c:pt>
                <c:pt idx="7009">
                  <c:v>28.05</c:v>
                </c:pt>
                <c:pt idx="7010">
                  <c:v>28.02</c:v>
                </c:pt>
                <c:pt idx="7011">
                  <c:v>28.339999999999996</c:v>
                </c:pt>
                <c:pt idx="7012">
                  <c:v>28.785341707008591</c:v>
                </c:pt>
                <c:pt idx="7013">
                  <c:v>35.74</c:v>
                </c:pt>
                <c:pt idx="7014">
                  <c:v>44.711037018877178</c:v>
                </c:pt>
                <c:pt idx="7015">
                  <c:v>50.05</c:v>
                </c:pt>
                <c:pt idx="7016">
                  <c:v>44.758096022593556</c:v>
                </c:pt>
                <c:pt idx="7017">
                  <c:v>42.11</c:v>
                </c:pt>
                <c:pt idx="7018">
                  <c:v>40.29</c:v>
                </c:pt>
                <c:pt idx="7019">
                  <c:v>37.590000000000003</c:v>
                </c:pt>
                <c:pt idx="7020">
                  <c:v>33.059999999999995</c:v>
                </c:pt>
                <c:pt idx="7021">
                  <c:v>32.1</c:v>
                </c:pt>
                <c:pt idx="7022">
                  <c:v>31.040000000000003</c:v>
                </c:pt>
                <c:pt idx="7023">
                  <c:v>30.300000000000004</c:v>
                </c:pt>
                <c:pt idx="7024">
                  <c:v>33.259177578184186</c:v>
                </c:pt>
                <c:pt idx="7025">
                  <c:v>35.580485543140192</c:v>
                </c:pt>
                <c:pt idx="7026">
                  <c:v>32.182197834879851</c:v>
                </c:pt>
                <c:pt idx="7027">
                  <c:v>29.250000000000004</c:v>
                </c:pt>
                <c:pt idx="7028">
                  <c:v>28.809999999999995</c:v>
                </c:pt>
                <c:pt idx="7029">
                  <c:v>28.479999999999997</c:v>
                </c:pt>
                <c:pt idx="7030">
                  <c:v>27.940000000000005</c:v>
                </c:pt>
                <c:pt idx="7031">
                  <c:v>29.07</c:v>
                </c:pt>
                <c:pt idx="7032">
                  <c:v>28.809999999999995</c:v>
                </c:pt>
                <c:pt idx="7033">
                  <c:v>28.55</c:v>
                </c:pt>
                <c:pt idx="7034">
                  <c:v>28.43</c:v>
                </c:pt>
                <c:pt idx="7035">
                  <c:v>28.409999999999997</c:v>
                </c:pt>
                <c:pt idx="7036">
                  <c:v>28.99</c:v>
                </c:pt>
                <c:pt idx="7037">
                  <c:v>29.010000000000005</c:v>
                </c:pt>
                <c:pt idx="7038">
                  <c:v>28.78</c:v>
                </c:pt>
                <c:pt idx="7039">
                  <c:v>29.1</c:v>
                </c:pt>
                <c:pt idx="7040">
                  <c:v>29.41</c:v>
                </c:pt>
                <c:pt idx="7041">
                  <c:v>29.83</c:v>
                </c:pt>
                <c:pt idx="7042">
                  <c:v>29.62</c:v>
                </c:pt>
                <c:pt idx="7043">
                  <c:v>29.330000000000002</c:v>
                </c:pt>
                <c:pt idx="7044">
                  <c:v>29.17</c:v>
                </c:pt>
                <c:pt idx="7045">
                  <c:v>29.09</c:v>
                </c:pt>
                <c:pt idx="7046">
                  <c:v>29.079999999999995</c:v>
                </c:pt>
                <c:pt idx="7047">
                  <c:v>29.22</c:v>
                </c:pt>
                <c:pt idx="7048">
                  <c:v>30.439999999999998</c:v>
                </c:pt>
                <c:pt idx="7049">
                  <c:v>31.089465105808191</c:v>
                </c:pt>
                <c:pt idx="7050">
                  <c:v>29.570000000000004</c:v>
                </c:pt>
                <c:pt idx="7051">
                  <c:v>29.100000000000005</c:v>
                </c:pt>
                <c:pt idx="7052">
                  <c:v>28.590000000000003</c:v>
                </c:pt>
                <c:pt idx="7053">
                  <c:v>27.500000000000004</c:v>
                </c:pt>
                <c:pt idx="7054">
                  <c:v>26.03</c:v>
                </c:pt>
                <c:pt idx="7055">
                  <c:v>27.9</c:v>
                </c:pt>
                <c:pt idx="7056">
                  <c:v>27.429999999999996</c:v>
                </c:pt>
                <c:pt idx="7057">
                  <c:v>27.07</c:v>
                </c:pt>
                <c:pt idx="7058">
                  <c:v>27.060000000000002</c:v>
                </c:pt>
                <c:pt idx="7059">
                  <c:v>27</c:v>
                </c:pt>
                <c:pt idx="7060">
                  <c:v>27.029999999999998</c:v>
                </c:pt>
                <c:pt idx="7061">
                  <c:v>27.579999999999995</c:v>
                </c:pt>
                <c:pt idx="7062">
                  <c:v>27.85</c:v>
                </c:pt>
                <c:pt idx="7063">
                  <c:v>28.4034260198904</c:v>
                </c:pt>
                <c:pt idx="7064">
                  <c:v>28.739318821828142</c:v>
                </c:pt>
                <c:pt idx="7065">
                  <c:v>29.004622641509435</c:v>
                </c:pt>
                <c:pt idx="7066">
                  <c:v>29.013192604593542</c:v>
                </c:pt>
                <c:pt idx="7067">
                  <c:v>28.901991564653841</c:v>
                </c:pt>
                <c:pt idx="7068">
                  <c:v>28.92</c:v>
                </c:pt>
                <c:pt idx="7069">
                  <c:v>25.968939971414962</c:v>
                </c:pt>
                <c:pt idx="7070">
                  <c:v>24.210475319926871</c:v>
                </c:pt>
                <c:pt idx="7071">
                  <c:v>28.798919849718224</c:v>
                </c:pt>
                <c:pt idx="7072">
                  <c:v>34.450000000000003</c:v>
                </c:pt>
                <c:pt idx="7073">
                  <c:v>40.941182641869339</c:v>
                </c:pt>
                <c:pt idx="7074">
                  <c:v>38.194907306434025</c:v>
                </c:pt>
                <c:pt idx="7075">
                  <c:v>33.093894551845345</c:v>
                </c:pt>
                <c:pt idx="7076">
                  <c:v>31.563999999999997</c:v>
                </c:pt>
                <c:pt idx="7077">
                  <c:v>29.860000000000003</c:v>
                </c:pt>
                <c:pt idx="7078">
                  <c:v>29.049999999999997</c:v>
                </c:pt>
                <c:pt idx="7079">
                  <c:v>28.610000000000003</c:v>
                </c:pt>
                <c:pt idx="7080">
                  <c:v>27.86</c:v>
                </c:pt>
                <c:pt idx="7081">
                  <c:v>27.08</c:v>
                </c:pt>
                <c:pt idx="7082">
                  <c:v>25.753965213007305</c:v>
                </c:pt>
                <c:pt idx="7083">
                  <c:v>23.84169296987087</c:v>
                </c:pt>
                <c:pt idx="7084">
                  <c:v>29.600000000000005</c:v>
                </c:pt>
                <c:pt idx="7085">
                  <c:v>38.642097214636813</c:v>
                </c:pt>
                <c:pt idx="7086">
                  <c:v>44.771298174442187</c:v>
                </c:pt>
                <c:pt idx="7087">
                  <c:v>47.76558777429468</c:v>
                </c:pt>
                <c:pt idx="7088">
                  <c:v>39.720676455165183</c:v>
                </c:pt>
                <c:pt idx="7089">
                  <c:v>40.065244628527054</c:v>
                </c:pt>
                <c:pt idx="7090">
                  <c:v>38.726553356282267</c:v>
                </c:pt>
                <c:pt idx="7091">
                  <c:v>37.066698397280227</c:v>
                </c:pt>
                <c:pt idx="7092">
                  <c:v>37.462228208072069</c:v>
                </c:pt>
                <c:pt idx="7093">
                  <c:v>36.77830746680462</c:v>
                </c:pt>
                <c:pt idx="7094">
                  <c:v>35.179027576197385</c:v>
                </c:pt>
                <c:pt idx="7095">
                  <c:v>35.61900540641313</c:v>
                </c:pt>
                <c:pt idx="7096">
                  <c:v>40.460432552057142</c:v>
                </c:pt>
                <c:pt idx="7097">
                  <c:v>42.723846411243095</c:v>
                </c:pt>
                <c:pt idx="7098">
                  <c:v>40.548666666666669</c:v>
                </c:pt>
                <c:pt idx="7099">
                  <c:v>36.737541705591894</c:v>
                </c:pt>
                <c:pt idx="7100">
                  <c:v>36.667095798540331</c:v>
                </c:pt>
                <c:pt idx="7101">
                  <c:v>30</c:v>
                </c:pt>
                <c:pt idx="7102">
                  <c:v>29.569999999999997</c:v>
                </c:pt>
                <c:pt idx="7103">
                  <c:v>29.579999999999995</c:v>
                </c:pt>
                <c:pt idx="7104">
                  <c:v>29.349999999999998</c:v>
                </c:pt>
                <c:pt idx="7105">
                  <c:v>28.899999999999995</c:v>
                </c:pt>
                <c:pt idx="7106">
                  <c:v>28.82</c:v>
                </c:pt>
                <c:pt idx="7107">
                  <c:v>28.97</c:v>
                </c:pt>
                <c:pt idx="7108">
                  <c:v>29.52</c:v>
                </c:pt>
                <c:pt idx="7109">
                  <c:v>31.309771754636234</c:v>
                </c:pt>
                <c:pt idx="7110">
                  <c:v>33.00166135775433</c:v>
                </c:pt>
                <c:pt idx="7111">
                  <c:v>34.235153679553939</c:v>
                </c:pt>
                <c:pt idx="7112">
                  <c:v>33.556841728869614</c:v>
                </c:pt>
                <c:pt idx="7113">
                  <c:v>33.671474511882671</c:v>
                </c:pt>
                <c:pt idx="7114">
                  <c:v>33.285671111880845</c:v>
                </c:pt>
                <c:pt idx="7115">
                  <c:v>31.96700558610835</c:v>
                </c:pt>
                <c:pt idx="7116">
                  <c:v>31.68759380707289</c:v>
                </c:pt>
                <c:pt idx="7117">
                  <c:v>31.35584953777494</c:v>
                </c:pt>
                <c:pt idx="7118">
                  <c:v>31.534053031707771</c:v>
                </c:pt>
                <c:pt idx="7119">
                  <c:v>31.531832858173328</c:v>
                </c:pt>
                <c:pt idx="7120">
                  <c:v>32.477873430436965</c:v>
                </c:pt>
                <c:pt idx="7121">
                  <c:v>33.539318521470562</c:v>
                </c:pt>
                <c:pt idx="7122">
                  <c:v>32.459467393947818</c:v>
                </c:pt>
                <c:pt idx="7123">
                  <c:v>30.280000000000005</c:v>
                </c:pt>
                <c:pt idx="7124">
                  <c:v>29.739999999999991</c:v>
                </c:pt>
                <c:pt idx="7125">
                  <c:v>28.91</c:v>
                </c:pt>
                <c:pt idx="7126">
                  <c:v>27.02</c:v>
                </c:pt>
                <c:pt idx="7127">
                  <c:v>15.779999999999998</c:v>
                </c:pt>
                <c:pt idx="7128">
                  <c:v>15.05</c:v>
                </c:pt>
                <c:pt idx="7129">
                  <c:v>12.79</c:v>
                </c:pt>
                <c:pt idx="7130">
                  <c:v>13.99</c:v>
                </c:pt>
                <c:pt idx="7131">
                  <c:v>17.03</c:v>
                </c:pt>
                <c:pt idx="7132">
                  <c:v>26.662228063943157</c:v>
                </c:pt>
                <c:pt idx="7133">
                  <c:v>34.375578930068201</c:v>
                </c:pt>
                <c:pt idx="7134">
                  <c:v>38.99</c:v>
                </c:pt>
                <c:pt idx="7135">
                  <c:v>38.552028048447319</c:v>
                </c:pt>
                <c:pt idx="7136">
                  <c:v>33.140662453693615</c:v>
                </c:pt>
                <c:pt idx="7137">
                  <c:v>30.389999999999997</c:v>
                </c:pt>
                <c:pt idx="7138">
                  <c:v>30.089999999999996</c:v>
                </c:pt>
                <c:pt idx="7139">
                  <c:v>29.79</c:v>
                </c:pt>
                <c:pt idx="7140">
                  <c:v>29.66</c:v>
                </c:pt>
                <c:pt idx="7141">
                  <c:v>29.869999999999997</c:v>
                </c:pt>
                <c:pt idx="7142">
                  <c:v>29.840000000000003</c:v>
                </c:pt>
                <c:pt idx="7143">
                  <c:v>30.01</c:v>
                </c:pt>
                <c:pt idx="7144">
                  <c:v>31.70277332207683</c:v>
                </c:pt>
                <c:pt idx="7145">
                  <c:v>32.825728700717775</c:v>
                </c:pt>
                <c:pt idx="7146">
                  <c:v>30.580000000000002</c:v>
                </c:pt>
                <c:pt idx="7147">
                  <c:v>29.909999999999997</c:v>
                </c:pt>
                <c:pt idx="7148">
                  <c:v>29.429999999999996</c:v>
                </c:pt>
                <c:pt idx="7149">
                  <c:v>28.220000000000002</c:v>
                </c:pt>
                <c:pt idx="7150">
                  <c:v>27.1</c:v>
                </c:pt>
                <c:pt idx="7151">
                  <c:v>26.16</c:v>
                </c:pt>
                <c:pt idx="7152">
                  <c:v>25.050000000000004</c:v>
                </c:pt>
                <c:pt idx="7153">
                  <c:v>24.949999999999996</c:v>
                </c:pt>
                <c:pt idx="7154">
                  <c:v>25.43</c:v>
                </c:pt>
                <c:pt idx="7155">
                  <c:v>26.390000000000004</c:v>
                </c:pt>
                <c:pt idx="7156">
                  <c:v>28.439999999999998</c:v>
                </c:pt>
                <c:pt idx="7157">
                  <c:v>29.49</c:v>
                </c:pt>
                <c:pt idx="7158">
                  <c:v>33.093282208588953</c:v>
                </c:pt>
                <c:pt idx="7159">
                  <c:v>34.800202866803176</c:v>
                </c:pt>
                <c:pt idx="7160">
                  <c:v>31.669999999999998</c:v>
                </c:pt>
                <c:pt idx="7161">
                  <c:v>30.579999999999991</c:v>
                </c:pt>
                <c:pt idx="7162">
                  <c:v>30.16</c:v>
                </c:pt>
                <c:pt idx="7163">
                  <c:v>29.879999999999995</c:v>
                </c:pt>
                <c:pt idx="7164">
                  <c:v>29.85</c:v>
                </c:pt>
                <c:pt idx="7165">
                  <c:v>29.770000000000003</c:v>
                </c:pt>
                <c:pt idx="7166">
                  <c:v>29.760000000000009</c:v>
                </c:pt>
                <c:pt idx="7167">
                  <c:v>29.79</c:v>
                </c:pt>
                <c:pt idx="7168">
                  <c:v>32.57804873281647</c:v>
                </c:pt>
                <c:pt idx="7169">
                  <c:v>35.252692944472741</c:v>
                </c:pt>
                <c:pt idx="7170">
                  <c:v>31.962998623192941</c:v>
                </c:pt>
                <c:pt idx="7171">
                  <c:v>29.83</c:v>
                </c:pt>
                <c:pt idx="7172">
                  <c:v>29.47</c:v>
                </c:pt>
                <c:pt idx="7173">
                  <c:v>29.01</c:v>
                </c:pt>
                <c:pt idx="7174">
                  <c:v>27.520000000000003</c:v>
                </c:pt>
                <c:pt idx="7175">
                  <c:v>23.360931892830969</c:v>
                </c:pt>
                <c:pt idx="7176">
                  <c:v>21.71</c:v>
                </c:pt>
                <c:pt idx="7177">
                  <c:v>12.900000000000002</c:v>
                </c:pt>
                <c:pt idx="7178">
                  <c:v>12.81</c:v>
                </c:pt>
                <c:pt idx="7179">
                  <c:v>19.04</c:v>
                </c:pt>
                <c:pt idx="7180">
                  <c:v>24.864998787794821</c:v>
                </c:pt>
                <c:pt idx="7181">
                  <c:v>31.035461652724575</c:v>
                </c:pt>
                <c:pt idx="7182">
                  <c:v>35.909999999999989</c:v>
                </c:pt>
                <c:pt idx="7183">
                  <c:v>32.100000000000009</c:v>
                </c:pt>
                <c:pt idx="7184">
                  <c:v>31.339999999999996</c:v>
                </c:pt>
                <c:pt idx="7185">
                  <c:v>33.67</c:v>
                </c:pt>
                <c:pt idx="7186">
                  <c:v>32.72</c:v>
                </c:pt>
                <c:pt idx="7187">
                  <c:v>28.79778032706859</c:v>
                </c:pt>
                <c:pt idx="7188">
                  <c:v>26.79509739187851</c:v>
                </c:pt>
                <c:pt idx="7189">
                  <c:v>27.329347306977972</c:v>
                </c:pt>
                <c:pt idx="7190">
                  <c:v>27.116214747205412</c:v>
                </c:pt>
                <c:pt idx="7191">
                  <c:v>29.29</c:v>
                </c:pt>
                <c:pt idx="7192">
                  <c:v>30.054282631738339</c:v>
                </c:pt>
                <c:pt idx="7193">
                  <c:v>31.070576301087918</c:v>
                </c:pt>
                <c:pt idx="7194">
                  <c:v>29.02</c:v>
                </c:pt>
                <c:pt idx="7195">
                  <c:v>28.019999999999996</c:v>
                </c:pt>
                <c:pt idx="7196">
                  <c:v>26.939999999999998</c:v>
                </c:pt>
                <c:pt idx="7197">
                  <c:v>25.8</c:v>
                </c:pt>
                <c:pt idx="7198">
                  <c:v>19.434542272413708</c:v>
                </c:pt>
                <c:pt idx="7199">
                  <c:v>16.04</c:v>
                </c:pt>
                <c:pt idx="7200">
                  <c:v>9.41</c:v>
                </c:pt>
                <c:pt idx="7201">
                  <c:v>0.03</c:v>
                </c:pt>
                <c:pt idx="7202">
                  <c:v>-9.69</c:v>
                </c:pt>
                <c:pt idx="7203">
                  <c:v>-13.02</c:v>
                </c:pt>
                <c:pt idx="7204">
                  <c:v>-15.009999999999998</c:v>
                </c:pt>
                <c:pt idx="7205">
                  <c:v>-9.5999999999999979</c:v>
                </c:pt>
                <c:pt idx="7206">
                  <c:v>0.12</c:v>
                </c:pt>
                <c:pt idx="7207">
                  <c:v>0.12</c:v>
                </c:pt>
                <c:pt idx="7208">
                  <c:v>10.1946283768236</c:v>
                </c:pt>
                <c:pt idx="7209">
                  <c:v>6.4113243022305264</c:v>
                </c:pt>
                <c:pt idx="7210">
                  <c:v>6.2885373308446111</c:v>
                </c:pt>
                <c:pt idx="7211">
                  <c:v>6.3176993099398038</c:v>
                </c:pt>
                <c:pt idx="7212">
                  <c:v>-2.8495697717919946</c:v>
                </c:pt>
                <c:pt idx="7213">
                  <c:v>-3.7345813410430315</c:v>
                </c:pt>
                <c:pt idx="7214">
                  <c:v>-2.5742282698146952</c:v>
                </c:pt>
                <c:pt idx="7215">
                  <c:v>3.7538519337016583</c:v>
                </c:pt>
                <c:pt idx="7216">
                  <c:v>6.4326753087679895</c:v>
                </c:pt>
                <c:pt idx="7217">
                  <c:v>12.248391858928752</c:v>
                </c:pt>
                <c:pt idx="7218">
                  <c:v>13.157646968886171</c:v>
                </c:pt>
                <c:pt idx="7219">
                  <c:v>5.8564310789247571</c:v>
                </c:pt>
                <c:pt idx="7220">
                  <c:v>-2.9232696290977391</c:v>
                </c:pt>
                <c:pt idx="7221">
                  <c:v>-2.9526244732756717</c:v>
                </c:pt>
                <c:pt idx="7222">
                  <c:v>-10.123794816475998</c:v>
                </c:pt>
                <c:pt idx="7223">
                  <c:v>-14.19929003426188</c:v>
                </c:pt>
                <c:pt idx="7224">
                  <c:v>-23.737902877697842</c:v>
                </c:pt>
                <c:pt idx="7225">
                  <c:v>-23.719394584949292</c:v>
                </c:pt>
                <c:pt idx="7226">
                  <c:v>-20.99</c:v>
                </c:pt>
                <c:pt idx="7227">
                  <c:v>-17.079999999999998</c:v>
                </c:pt>
                <c:pt idx="7228">
                  <c:v>-14.565377071000738</c:v>
                </c:pt>
                <c:pt idx="7229">
                  <c:v>-4.6518667490407744</c:v>
                </c:pt>
                <c:pt idx="7230">
                  <c:v>-5.638520161519649</c:v>
                </c:pt>
                <c:pt idx="7231">
                  <c:v>5.0155218941589927</c:v>
                </c:pt>
                <c:pt idx="7232">
                  <c:v>6.2084711515053153</c:v>
                </c:pt>
                <c:pt idx="7233">
                  <c:v>10.345258713767613</c:v>
                </c:pt>
                <c:pt idx="7234">
                  <c:v>6.159075808735432</c:v>
                </c:pt>
                <c:pt idx="7235">
                  <c:v>6.5328820665404388</c:v>
                </c:pt>
                <c:pt idx="7236">
                  <c:v>6.3544714162994991</c:v>
                </c:pt>
                <c:pt idx="7237">
                  <c:v>5.9326412953224459</c:v>
                </c:pt>
                <c:pt idx="7238">
                  <c:v>6.6095375183636556</c:v>
                </c:pt>
                <c:pt idx="7239">
                  <c:v>25.53</c:v>
                </c:pt>
                <c:pt idx="7240">
                  <c:v>27.130000000000003</c:v>
                </c:pt>
                <c:pt idx="7241">
                  <c:v>27.619999999999997</c:v>
                </c:pt>
                <c:pt idx="7242">
                  <c:v>29.356728631913207</c:v>
                </c:pt>
                <c:pt idx="7243">
                  <c:v>23.693464986984605</c:v>
                </c:pt>
                <c:pt idx="7244">
                  <c:v>17.728292252325662</c:v>
                </c:pt>
                <c:pt idx="7245">
                  <c:v>13.589348502030216</c:v>
                </c:pt>
                <c:pt idx="7246">
                  <c:v>1.9529653465346535</c:v>
                </c:pt>
                <c:pt idx="7247">
                  <c:v>0.75</c:v>
                </c:pt>
                <c:pt idx="7248">
                  <c:v>0.01</c:v>
                </c:pt>
                <c:pt idx="7249">
                  <c:v>8.0000000000000016E-2</c:v>
                </c:pt>
                <c:pt idx="7250">
                  <c:v>4.0500000000000007</c:v>
                </c:pt>
                <c:pt idx="7251">
                  <c:v>2.9500000000000006</c:v>
                </c:pt>
                <c:pt idx="7252">
                  <c:v>18.09</c:v>
                </c:pt>
                <c:pt idx="7253">
                  <c:v>28.42</c:v>
                </c:pt>
                <c:pt idx="7254">
                  <c:v>36.43</c:v>
                </c:pt>
                <c:pt idx="7255">
                  <c:v>33.479999999999997</c:v>
                </c:pt>
                <c:pt idx="7256">
                  <c:v>30.38</c:v>
                </c:pt>
                <c:pt idx="7257">
                  <c:v>29.74</c:v>
                </c:pt>
                <c:pt idx="7258">
                  <c:v>29.460000000000004</c:v>
                </c:pt>
                <c:pt idx="7259">
                  <c:v>29.700000000000003</c:v>
                </c:pt>
                <c:pt idx="7260">
                  <c:v>29.98</c:v>
                </c:pt>
                <c:pt idx="7261">
                  <c:v>35.328648000000001</c:v>
                </c:pt>
                <c:pt idx="7262">
                  <c:v>37.517491586538469</c:v>
                </c:pt>
                <c:pt idx="7263">
                  <c:v>37.852956030242972</c:v>
                </c:pt>
                <c:pt idx="7264">
                  <c:v>47.874226457399104</c:v>
                </c:pt>
                <c:pt idx="7265">
                  <c:v>43.672872772482393</c:v>
                </c:pt>
                <c:pt idx="7266">
                  <c:v>40.988691721771161</c:v>
                </c:pt>
                <c:pt idx="7267">
                  <c:v>39.969324122150837</c:v>
                </c:pt>
                <c:pt idx="7268">
                  <c:v>33.05252475247525</c:v>
                </c:pt>
                <c:pt idx="7269">
                  <c:v>32.645045831514622</c:v>
                </c:pt>
                <c:pt idx="7270">
                  <c:v>28.52</c:v>
                </c:pt>
                <c:pt idx="7271">
                  <c:v>28.8</c:v>
                </c:pt>
                <c:pt idx="7272">
                  <c:v>28.63</c:v>
                </c:pt>
                <c:pt idx="7273">
                  <c:v>28.600000000000005</c:v>
                </c:pt>
                <c:pt idx="7274">
                  <c:v>28.39</c:v>
                </c:pt>
                <c:pt idx="7275">
                  <c:v>28.89</c:v>
                </c:pt>
                <c:pt idx="7276">
                  <c:v>32.24</c:v>
                </c:pt>
                <c:pt idx="7277">
                  <c:v>38.120000000000005</c:v>
                </c:pt>
                <c:pt idx="7278">
                  <c:v>38.077278131634813</c:v>
                </c:pt>
                <c:pt idx="7279">
                  <c:v>41.09</c:v>
                </c:pt>
                <c:pt idx="7280">
                  <c:v>40.02384964200477</c:v>
                </c:pt>
                <c:pt idx="7281">
                  <c:v>38.52042413591095</c:v>
                </c:pt>
                <c:pt idx="7282">
                  <c:v>40.333027847049038</c:v>
                </c:pt>
                <c:pt idx="7283">
                  <c:v>36.950000000000003</c:v>
                </c:pt>
                <c:pt idx="7284">
                  <c:v>34.139999999999993</c:v>
                </c:pt>
                <c:pt idx="7285">
                  <c:v>35.650000000000006</c:v>
                </c:pt>
                <c:pt idx="7286">
                  <c:v>38.916077738515902</c:v>
                </c:pt>
                <c:pt idx="7287">
                  <c:v>41.597001394700143</c:v>
                </c:pt>
                <c:pt idx="7288">
                  <c:v>46.937990293007374</c:v>
                </c:pt>
                <c:pt idx="7289">
                  <c:v>47.36</c:v>
                </c:pt>
                <c:pt idx="7290">
                  <c:v>44.31</c:v>
                </c:pt>
                <c:pt idx="7291">
                  <c:v>38.999999999999993</c:v>
                </c:pt>
                <c:pt idx="7292">
                  <c:v>37.099999999999994</c:v>
                </c:pt>
                <c:pt idx="7293">
                  <c:v>34.979999999999997</c:v>
                </c:pt>
                <c:pt idx="7294">
                  <c:v>28.880000000000003</c:v>
                </c:pt>
                <c:pt idx="7295">
                  <c:v>27.346252258453067</c:v>
                </c:pt>
                <c:pt idx="7296">
                  <c:v>23.06</c:v>
                </c:pt>
                <c:pt idx="7297">
                  <c:v>22.27</c:v>
                </c:pt>
                <c:pt idx="7298">
                  <c:v>22.97</c:v>
                </c:pt>
                <c:pt idx="7299">
                  <c:v>26.66</c:v>
                </c:pt>
                <c:pt idx="7300">
                  <c:v>27.029999999999998</c:v>
                </c:pt>
                <c:pt idx="7301">
                  <c:v>29.07</c:v>
                </c:pt>
                <c:pt idx="7302">
                  <c:v>31.000000000000004</c:v>
                </c:pt>
                <c:pt idx="7303">
                  <c:v>33.40276123170117</c:v>
                </c:pt>
                <c:pt idx="7304">
                  <c:v>31.504895209580845</c:v>
                </c:pt>
                <c:pt idx="7305">
                  <c:v>31.121418237783761</c:v>
                </c:pt>
                <c:pt idx="7306">
                  <c:v>30.13</c:v>
                </c:pt>
                <c:pt idx="7307">
                  <c:v>29.790000000000003</c:v>
                </c:pt>
                <c:pt idx="7308">
                  <c:v>29.06</c:v>
                </c:pt>
                <c:pt idx="7309">
                  <c:v>29.179999999999996</c:v>
                </c:pt>
                <c:pt idx="7310">
                  <c:v>29.350000000000005</c:v>
                </c:pt>
                <c:pt idx="7311">
                  <c:v>30.104616807966625</c:v>
                </c:pt>
                <c:pt idx="7312">
                  <c:v>33.041817535927656</c:v>
                </c:pt>
                <c:pt idx="7313">
                  <c:v>33.714304658279495</c:v>
                </c:pt>
                <c:pt idx="7314">
                  <c:v>29.25</c:v>
                </c:pt>
                <c:pt idx="7315">
                  <c:v>28.48</c:v>
                </c:pt>
                <c:pt idx="7316">
                  <c:v>27.4</c:v>
                </c:pt>
                <c:pt idx="7317">
                  <c:v>27.020000000000003</c:v>
                </c:pt>
                <c:pt idx="7318">
                  <c:v>18.97</c:v>
                </c:pt>
                <c:pt idx="7319">
                  <c:v>20.180000000000003</c:v>
                </c:pt>
                <c:pt idx="7320">
                  <c:v>12.62</c:v>
                </c:pt>
                <c:pt idx="7321">
                  <c:v>12.609999999999998</c:v>
                </c:pt>
                <c:pt idx="7322">
                  <c:v>10.96</c:v>
                </c:pt>
                <c:pt idx="7323">
                  <c:v>14.040000000000001</c:v>
                </c:pt>
                <c:pt idx="7324">
                  <c:v>25.97</c:v>
                </c:pt>
                <c:pt idx="7325">
                  <c:v>31.649999999999991</c:v>
                </c:pt>
                <c:pt idx="7326">
                  <c:v>35.21</c:v>
                </c:pt>
                <c:pt idx="7327">
                  <c:v>31.216950880109877</c:v>
                </c:pt>
                <c:pt idx="7328">
                  <c:v>30.217878766191941</c:v>
                </c:pt>
                <c:pt idx="7329">
                  <c:v>29.53018208506623</c:v>
                </c:pt>
                <c:pt idx="7330">
                  <c:v>29.448986727096141</c:v>
                </c:pt>
                <c:pt idx="7331">
                  <c:v>29.250131176720966</c:v>
                </c:pt>
                <c:pt idx="7332">
                  <c:v>29.591799131101457</c:v>
                </c:pt>
                <c:pt idx="7333">
                  <c:v>30.06902381845461</c:v>
                </c:pt>
                <c:pt idx="7334">
                  <c:v>32.072902709729028</c:v>
                </c:pt>
                <c:pt idx="7335">
                  <c:v>35.000155781905328</c:v>
                </c:pt>
                <c:pt idx="7336">
                  <c:v>45.519876040818872</c:v>
                </c:pt>
                <c:pt idx="7337">
                  <c:v>51.92</c:v>
                </c:pt>
                <c:pt idx="7338">
                  <c:v>48.319241582491578</c:v>
                </c:pt>
                <c:pt idx="7339">
                  <c:v>44.05150426671959</c:v>
                </c:pt>
                <c:pt idx="7340">
                  <c:v>42.06</c:v>
                </c:pt>
                <c:pt idx="7341">
                  <c:v>36.119999999999997</c:v>
                </c:pt>
                <c:pt idx="7342">
                  <c:v>35.45000000000001</c:v>
                </c:pt>
                <c:pt idx="7343">
                  <c:v>36.07</c:v>
                </c:pt>
                <c:pt idx="7344">
                  <c:v>36.090000000000003</c:v>
                </c:pt>
                <c:pt idx="7345">
                  <c:v>36.13000000000001</c:v>
                </c:pt>
                <c:pt idx="7346">
                  <c:v>36.090000000000003</c:v>
                </c:pt>
                <c:pt idx="7347">
                  <c:v>38.24</c:v>
                </c:pt>
                <c:pt idx="7348">
                  <c:v>39.47</c:v>
                </c:pt>
                <c:pt idx="7349">
                  <c:v>47.412691784406078</c:v>
                </c:pt>
                <c:pt idx="7350">
                  <c:v>60.589090909090913</c:v>
                </c:pt>
                <c:pt idx="7351">
                  <c:v>61.382036921800449</c:v>
                </c:pt>
                <c:pt idx="7352">
                  <c:v>57.575115973741795</c:v>
                </c:pt>
                <c:pt idx="7353">
                  <c:v>40.430324695278095</c:v>
                </c:pt>
                <c:pt idx="7354">
                  <c:v>40.802855492356912</c:v>
                </c:pt>
                <c:pt idx="7355">
                  <c:v>38.394425751072966</c:v>
                </c:pt>
                <c:pt idx="7356">
                  <c:v>39.18091131963817</c:v>
                </c:pt>
                <c:pt idx="7357">
                  <c:v>34.981858290033074</c:v>
                </c:pt>
                <c:pt idx="7358">
                  <c:v>43.362172751558326</c:v>
                </c:pt>
                <c:pt idx="7359">
                  <c:v>46.657447154471548</c:v>
                </c:pt>
                <c:pt idx="7360">
                  <c:v>48.455515029003337</c:v>
                </c:pt>
                <c:pt idx="7361">
                  <c:v>48.57831868862143</c:v>
                </c:pt>
                <c:pt idx="7362">
                  <c:v>44.384865244244807</c:v>
                </c:pt>
                <c:pt idx="7363">
                  <c:v>34.104975277295203</c:v>
                </c:pt>
                <c:pt idx="7364">
                  <c:v>31.015491622948044</c:v>
                </c:pt>
                <c:pt idx="7365">
                  <c:v>28.060000000000002</c:v>
                </c:pt>
                <c:pt idx="7366">
                  <c:v>27.15</c:v>
                </c:pt>
                <c:pt idx="7367">
                  <c:v>26.960000000000004</c:v>
                </c:pt>
                <c:pt idx="7368">
                  <c:v>26.56</c:v>
                </c:pt>
                <c:pt idx="7369">
                  <c:v>26.24</c:v>
                </c:pt>
                <c:pt idx="7370">
                  <c:v>26.409999999999997</c:v>
                </c:pt>
                <c:pt idx="7371">
                  <c:v>26.75</c:v>
                </c:pt>
                <c:pt idx="7372">
                  <c:v>27.05</c:v>
                </c:pt>
                <c:pt idx="7373">
                  <c:v>27.990000000000002</c:v>
                </c:pt>
                <c:pt idx="7374">
                  <c:v>28.099999999999998</c:v>
                </c:pt>
                <c:pt idx="7375">
                  <c:v>28.149999999999995</c:v>
                </c:pt>
                <c:pt idx="7376">
                  <c:v>28.615864097109245</c:v>
                </c:pt>
                <c:pt idx="7377">
                  <c:v>28.811243201243204</c:v>
                </c:pt>
                <c:pt idx="7378">
                  <c:v>28.772727885735303</c:v>
                </c:pt>
                <c:pt idx="7379">
                  <c:v>29.179424129353229</c:v>
                </c:pt>
                <c:pt idx="7380">
                  <c:v>29.029889049990544</c:v>
                </c:pt>
                <c:pt idx="7381">
                  <c:v>28.980101522842638</c:v>
                </c:pt>
                <c:pt idx="7382">
                  <c:v>28.901916912005234</c:v>
                </c:pt>
                <c:pt idx="7383">
                  <c:v>29.999162220789117</c:v>
                </c:pt>
                <c:pt idx="7384">
                  <c:v>31.708366874969251</c:v>
                </c:pt>
                <c:pt idx="7385">
                  <c:v>30.30169569741664</c:v>
                </c:pt>
                <c:pt idx="7386">
                  <c:v>28.79</c:v>
                </c:pt>
                <c:pt idx="7387">
                  <c:v>28.54</c:v>
                </c:pt>
                <c:pt idx="7388">
                  <c:v>26.827618631598305</c:v>
                </c:pt>
                <c:pt idx="7389">
                  <c:v>26.530000000000005</c:v>
                </c:pt>
                <c:pt idx="7390">
                  <c:v>20.65</c:v>
                </c:pt>
                <c:pt idx="7391">
                  <c:v>13.2</c:v>
                </c:pt>
                <c:pt idx="7392">
                  <c:v>13.2</c:v>
                </c:pt>
                <c:pt idx="7393">
                  <c:v>14.64</c:v>
                </c:pt>
                <c:pt idx="7394">
                  <c:v>11.68</c:v>
                </c:pt>
                <c:pt idx="7395">
                  <c:v>13.93</c:v>
                </c:pt>
                <c:pt idx="7396">
                  <c:v>20.010000000000002</c:v>
                </c:pt>
                <c:pt idx="7397">
                  <c:v>21.87</c:v>
                </c:pt>
                <c:pt idx="7398">
                  <c:v>24.6</c:v>
                </c:pt>
                <c:pt idx="7399">
                  <c:v>31.470000000000002</c:v>
                </c:pt>
                <c:pt idx="7400">
                  <c:v>33.239999999999995</c:v>
                </c:pt>
                <c:pt idx="7401">
                  <c:v>28.789999999999996</c:v>
                </c:pt>
                <c:pt idx="7402">
                  <c:v>28.82</c:v>
                </c:pt>
                <c:pt idx="7403">
                  <c:v>28.620000000000005</c:v>
                </c:pt>
                <c:pt idx="7404">
                  <c:v>28.58</c:v>
                </c:pt>
                <c:pt idx="7405">
                  <c:v>28.62</c:v>
                </c:pt>
                <c:pt idx="7406">
                  <c:v>29.003308054393312</c:v>
                </c:pt>
                <c:pt idx="7407">
                  <c:v>35</c:v>
                </c:pt>
                <c:pt idx="7408">
                  <c:v>40.713226306154056</c:v>
                </c:pt>
                <c:pt idx="7409">
                  <c:v>41.74</c:v>
                </c:pt>
                <c:pt idx="7410">
                  <c:v>39.844545353982305</c:v>
                </c:pt>
                <c:pt idx="7411">
                  <c:v>39.689999999999991</c:v>
                </c:pt>
                <c:pt idx="7412">
                  <c:v>28.740000000000002</c:v>
                </c:pt>
                <c:pt idx="7413">
                  <c:v>28.390000000000004</c:v>
                </c:pt>
                <c:pt idx="7414">
                  <c:v>28.050000000000004</c:v>
                </c:pt>
                <c:pt idx="7415">
                  <c:v>27.82</c:v>
                </c:pt>
                <c:pt idx="7416">
                  <c:v>27.16</c:v>
                </c:pt>
                <c:pt idx="7417">
                  <c:v>26.98</c:v>
                </c:pt>
                <c:pt idx="7418">
                  <c:v>26.94</c:v>
                </c:pt>
                <c:pt idx="7419">
                  <c:v>27.42</c:v>
                </c:pt>
                <c:pt idx="7420">
                  <c:v>28.25</c:v>
                </c:pt>
                <c:pt idx="7421">
                  <c:v>29.289999999999996</c:v>
                </c:pt>
                <c:pt idx="7422">
                  <c:v>39</c:v>
                </c:pt>
                <c:pt idx="7423">
                  <c:v>38.56</c:v>
                </c:pt>
                <c:pt idx="7424">
                  <c:v>38.46</c:v>
                </c:pt>
                <c:pt idx="7425">
                  <c:v>39.43</c:v>
                </c:pt>
                <c:pt idx="7426">
                  <c:v>34.39</c:v>
                </c:pt>
                <c:pt idx="7427">
                  <c:v>30.31</c:v>
                </c:pt>
                <c:pt idx="7428">
                  <c:v>33.11</c:v>
                </c:pt>
                <c:pt idx="7429">
                  <c:v>39.139999999999993</c:v>
                </c:pt>
                <c:pt idx="7430">
                  <c:v>40.020000000000003</c:v>
                </c:pt>
                <c:pt idx="7431">
                  <c:v>55.31</c:v>
                </c:pt>
                <c:pt idx="7432">
                  <c:v>76.400000000000006</c:v>
                </c:pt>
                <c:pt idx="7433">
                  <c:v>66.989359679839922</c:v>
                </c:pt>
                <c:pt idx="7434">
                  <c:v>66.569999999999993</c:v>
                </c:pt>
                <c:pt idx="7435">
                  <c:v>54.37</c:v>
                </c:pt>
                <c:pt idx="7436">
                  <c:v>39.630000000000003</c:v>
                </c:pt>
                <c:pt idx="7437">
                  <c:v>38.86</c:v>
                </c:pt>
                <c:pt idx="7438">
                  <c:v>37.1</c:v>
                </c:pt>
                <c:pt idx="7439">
                  <c:v>28.410000000000004</c:v>
                </c:pt>
                <c:pt idx="7440">
                  <c:v>28.02</c:v>
                </c:pt>
                <c:pt idx="7441">
                  <c:v>27.88</c:v>
                </c:pt>
                <c:pt idx="7442">
                  <c:v>27.93</c:v>
                </c:pt>
                <c:pt idx="7443">
                  <c:v>28.339999999999996</c:v>
                </c:pt>
                <c:pt idx="7444">
                  <c:v>29.150000000000002</c:v>
                </c:pt>
                <c:pt idx="7445">
                  <c:v>29.92</c:v>
                </c:pt>
                <c:pt idx="7446">
                  <c:v>39.599818846890784</c:v>
                </c:pt>
                <c:pt idx="7447">
                  <c:v>39.87410914347668</c:v>
                </c:pt>
                <c:pt idx="7448">
                  <c:v>34.682891937290037</c:v>
                </c:pt>
                <c:pt idx="7449">
                  <c:v>32.547212543554004</c:v>
                </c:pt>
                <c:pt idx="7450">
                  <c:v>32.121111111111112</c:v>
                </c:pt>
                <c:pt idx="7451">
                  <c:v>32.297147931266203</c:v>
                </c:pt>
                <c:pt idx="7452">
                  <c:v>32.625368103601204</c:v>
                </c:pt>
                <c:pt idx="7453">
                  <c:v>32.680905290947095</c:v>
                </c:pt>
                <c:pt idx="7454">
                  <c:v>33.134860250411023</c:v>
                </c:pt>
                <c:pt idx="7455">
                  <c:v>37.285966168662803</c:v>
                </c:pt>
                <c:pt idx="7456">
                  <c:v>43.41015572519084</c:v>
                </c:pt>
                <c:pt idx="7457">
                  <c:v>42.861434210526319</c:v>
                </c:pt>
                <c:pt idx="7458">
                  <c:v>35.049999999999997</c:v>
                </c:pt>
                <c:pt idx="7459">
                  <c:v>30.569999999999997</c:v>
                </c:pt>
                <c:pt idx="7460">
                  <c:v>29.880000000000003</c:v>
                </c:pt>
                <c:pt idx="7461">
                  <c:v>28.990000000000002</c:v>
                </c:pt>
                <c:pt idx="7462">
                  <c:v>28.229999999999997</c:v>
                </c:pt>
                <c:pt idx="7463">
                  <c:v>28.79</c:v>
                </c:pt>
                <c:pt idx="7464">
                  <c:v>28.520000000000007</c:v>
                </c:pt>
                <c:pt idx="7465">
                  <c:v>28.449999999999996</c:v>
                </c:pt>
                <c:pt idx="7466">
                  <c:v>28.51</c:v>
                </c:pt>
                <c:pt idx="7467">
                  <c:v>35.53</c:v>
                </c:pt>
                <c:pt idx="7468">
                  <c:v>36.15</c:v>
                </c:pt>
                <c:pt idx="7469">
                  <c:v>45.26</c:v>
                </c:pt>
                <c:pt idx="7470">
                  <c:v>75.760000000000019</c:v>
                </c:pt>
                <c:pt idx="7471">
                  <c:v>79.28</c:v>
                </c:pt>
                <c:pt idx="7472">
                  <c:v>77.069999999999979</c:v>
                </c:pt>
                <c:pt idx="7473">
                  <c:v>62.7</c:v>
                </c:pt>
                <c:pt idx="7474">
                  <c:v>64.010000000000005</c:v>
                </c:pt>
                <c:pt idx="7475">
                  <c:v>63.959999999999994</c:v>
                </c:pt>
                <c:pt idx="7476">
                  <c:v>64.03</c:v>
                </c:pt>
                <c:pt idx="7477">
                  <c:v>66.88</c:v>
                </c:pt>
                <c:pt idx="7478">
                  <c:v>60.87</c:v>
                </c:pt>
                <c:pt idx="7479">
                  <c:v>82.52</c:v>
                </c:pt>
                <c:pt idx="7480">
                  <c:v>111.4</c:v>
                </c:pt>
                <c:pt idx="7481">
                  <c:v>76.711170731707313</c:v>
                </c:pt>
                <c:pt idx="7482">
                  <c:v>79.41</c:v>
                </c:pt>
                <c:pt idx="7483">
                  <c:v>58.22</c:v>
                </c:pt>
                <c:pt idx="7484">
                  <c:v>51.25</c:v>
                </c:pt>
                <c:pt idx="7485">
                  <c:v>38.909999999999997</c:v>
                </c:pt>
                <c:pt idx="7486">
                  <c:v>28.759999999999998</c:v>
                </c:pt>
                <c:pt idx="7487">
                  <c:v>38.61</c:v>
                </c:pt>
                <c:pt idx="7488">
                  <c:v>36.19</c:v>
                </c:pt>
                <c:pt idx="7489">
                  <c:v>28.61</c:v>
                </c:pt>
                <c:pt idx="7490">
                  <c:v>28.27</c:v>
                </c:pt>
                <c:pt idx="7491">
                  <c:v>28.19</c:v>
                </c:pt>
                <c:pt idx="7492">
                  <c:v>28.99</c:v>
                </c:pt>
                <c:pt idx="7493">
                  <c:v>30.220000000000002</c:v>
                </c:pt>
                <c:pt idx="7494">
                  <c:v>31.2129298436932</c:v>
                </c:pt>
                <c:pt idx="7495">
                  <c:v>31.488602329450917</c:v>
                </c:pt>
                <c:pt idx="7496">
                  <c:v>30.35</c:v>
                </c:pt>
                <c:pt idx="7497">
                  <c:v>30.06</c:v>
                </c:pt>
                <c:pt idx="7498">
                  <c:v>29.740000000000002</c:v>
                </c:pt>
                <c:pt idx="7499">
                  <c:v>29.600000000000005</c:v>
                </c:pt>
                <c:pt idx="7500">
                  <c:v>29.6</c:v>
                </c:pt>
                <c:pt idx="7501">
                  <c:v>29.769999999999996</c:v>
                </c:pt>
                <c:pt idx="7502">
                  <c:v>30.03</c:v>
                </c:pt>
                <c:pt idx="7503">
                  <c:v>30.32</c:v>
                </c:pt>
                <c:pt idx="7504">
                  <c:v>30.590000000000003</c:v>
                </c:pt>
                <c:pt idx="7505">
                  <c:v>30.52</c:v>
                </c:pt>
                <c:pt idx="7506">
                  <c:v>30.02</c:v>
                </c:pt>
                <c:pt idx="7507">
                  <c:v>29.41</c:v>
                </c:pt>
                <c:pt idx="7508">
                  <c:v>28.91</c:v>
                </c:pt>
                <c:pt idx="7509">
                  <c:v>28.119999999999997</c:v>
                </c:pt>
                <c:pt idx="7510">
                  <c:v>26.26</c:v>
                </c:pt>
                <c:pt idx="7511">
                  <c:v>26.409999999999997</c:v>
                </c:pt>
                <c:pt idx="7512">
                  <c:v>25.349999999999998</c:v>
                </c:pt>
                <c:pt idx="7513">
                  <c:v>25.960000000000004</c:v>
                </c:pt>
                <c:pt idx="7514">
                  <c:v>26.65</c:v>
                </c:pt>
                <c:pt idx="7515">
                  <c:v>27.1</c:v>
                </c:pt>
                <c:pt idx="7516">
                  <c:v>28.850000000000005</c:v>
                </c:pt>
                <c:pt idx="7517">
                  <c:v>30.28</c:v>
                </c:pt>
                <c:pt idx="7518">
                  <c:v>30.950000000000003</c:v>
                </c:pt>
                <c:pt idx="7519">
                  <c:v>31.16</c:v>
                </c:pt>
                <c:pt idx="7520">
                  <c:v>30.91</c:v>
                </c:pt>
                <c:pt idx="7521">
                  <c:v>30.85</c:v>
                </c:pt>
                <c:pt idx="7522">
                  <c:v>30.690000000000005</c:v>
                </c:pt>
                <c:pt idx="7523">
                  <c:v>30.57</c:v>
                </c:pt>
                <c:pt idx="7524">
                  <c:v>30.409999999999997</c:v>
                </c:pt>
                <c:pt idx="7525">
                  <c:v>30.16</c:v>
                </c:pt>
                <c:pt idx="7526">
                  <c:v>30.12</c:v>
                </c:pt>
                <c:pt idx="7527">
                  <c:v>30.520000000000003</c:v>
                </c:pt>
                <c:pt idx="7528">
                  <c:v>30.839999999999996</c:v>
                </c:pt>
                <c:pt idx="7529">
                  <c:v>30.72</c:v>
                </c:pt>
                <c:pt idx="7530">
                  <c:v>30.310000000000002</c:v>
                </c:pt>
                <c:pt idx="7531">
                  <c:v>29.39</c:v>
                </c:pt>
                <c:pt idx="7532">
                  <c:v>23.721955634512895</c:v>
                </c:pt>
                <c:pt idx="7533">
                  <c:v>18.338332727404932</c:v>
                </c:pt>
                <c:pt idx="7534">
                  <c:v>15.179588713282667</c:v>
                </c:pt>
                <c:pt idx="7535">
                  <c:v>9.1999999999999993</c:v>
                </c:pt>
                <c:pt idx="7536">
                  <c:v>2.0299999999999998</c:v>
                </c:pt>
                <c:pt idx="7537">
                  <c:v>8.0000000000000016E-2</c:v>
                </c:pt>
                <c:pt idx="7538">
                  <c:v>6.4699999999999989</c:v>
                </c:pt>
                <c:pt idx="7539">
                  <c:v>11.270000000000001</c:v>
                </c:pt>
                <c:pt idx="7540">
                  <c:v>12.59</c:v>
                </c:pt>
                <c:pt idx="7541">
                  <c:v>9.6300000000000026</c:v>
                </c:pt>
                <c:pt idx="7542">
                  <c:v>13.549999999999999</c:v>
                </c:pt>
                <c:pt idx="7543">
                  <c:v>20.100000000000001</c:v>
                </c:pt>
                <c:pt idx="7544">
                  <c:v>25.966252545070894</c:v>
                </c:pt>
                <c:pt idx="7545">
                  <c:v>23.705809723933051</c:v>
                </c:pt>
                <c:pt idx="7546">
                  <c:v>21.781690140845068</c:v>
                </c:pt>
                <c:pt idx="7547">
                  <c:v>23.12033192516596</c:v>
                </c:pt>
                <c:pt idx="7548">
                  <c:v>24.193979512195121</c:v>
                </c:pt>
                <c:pt idx="7549">
                  <c:v>28.351675672198638</c:v>
                </c:pt>
                <c:pt idx="7550">
                  <c:v>29.78</c:v>
                </c:pt>
                <c:pt idx="7551">
                  <c:v>30.7</c:v>
                </c:pt>
                <c:pt idx="7552">
                  <c:v>31.169999999999998</c:v>
                </c:pt>
                <c:pt idx="7553">
                  <c:v>30.899999999999995</c:v>
                </c:pt>
                <c:pt idx="7554">
                  <c:v>30.359999999999996</c:v>
                </c:pt>
                <c:pt idx="7555">
                  <c:v>29.900000000000002</c:v>
                </c:pt>
                <c:pt idx="7556">
                  <c:v>29.740000000000002</c:v>
                </c:pt>
                <c:pt idx="7557">
                  <c:v>29.48</c:v>
                </c:pt>
                <c:pt idx="7558">
                  <c:v>28.290000000000003</c:v>
                </c:pt>
                <c:pt idx="7559">
                  <c:v>14.07</c:v>
                </c:pt>
                <c:pt idx="7560">
                  <c:v>15.99</c:v>
                </c:pt>
                <c:pt idx="7561">
                  <c:v>13.800000000000002</c:v>
                </c:pt>
                <c:pt idx="7562">
                  <c:v>13.530000000000001</c:v>
                </c:pt>
                <c:pt idx="7563">
                  <c:v>15.249999999999998</c:v>
                </c:pt>
                <c:pt idx="7564">
                  <c:v>21.860000000000003</c:v>
                </c:pt>
                <c:pt idx="7565">
                  <c:v>22.52</c:v>
                </c:pt>
                <c:pt idx="7566">
                  <c:v>27.537139788499665</c:v>
                </c:pt>
                <c:pt idx="7567">
                  <c:v>30.439783571077225</c:v>
                </c:pt>
                <c:pt idx="7568">
                  <c:v>30.580000000000002</c:v>
                </c:pt>
                <c:pt idx="7569">
                  <c:v>30.93</c:v>
                </c:pt>
                <c:pt idx="7570">
                  <c:v>31.059999999999995</c:v>
                </c:pt>
                <c:pt idx="7571">
                  <c:v>30.920000000000005</c:v>
                </c:pt>
                <c:pt idx="7572">
                  <c:v>34.76</c:v>
                </c:pt>
                <c:pt idx="7573">
                  <c:v>34.729999999999997</c:v>
                </c:pt>
                <c:pt idx="7574">
                  <c:v>30.990000000000002</c:v>
                </c:pt>
                <c:pt idx="7575">
                  <c:v>39.840000000000003</c:v>
                </c:pt>
                <c:pt idx="7576">
                  <c:v>50.069999999999993</c:v>
                </c:pt>
                <c:pt idx="7577">
                  <c:v>43.000000000000007</c:v>
                </c:pt>
                <c:pt idx="7578">
                  <c:v>37.300000000000004</c:v>
                </c:pt>
                <c:pt idx="7579">
                  <c:v>30.940000000000005</c:v>
                </c:pt>
                <c:pt idx="7580">
                  <c:v>30.690000000000005</c:v>
                </c:pt>
                <c:pt idx="7581">
                  <c:v>30.25</c:v>
                </c:pt>
                <c:pt idx="7582">
                  <c:v>29.729999999999997</c:v>
                </c:pt>
                <c:pt idx="7583">
                  <c:v>29.85</c:v>
                </c:pt>
                <c:pt idx="7584">
                  <c:v>29.679999999999996</c:v>
                </c:pt>
                <c:pt idx="7585">
                  <c:v>29.640000000000004</c:v>
                </c:pt>
                <c:pt idx="7586">
                  <c:v>29.660000000000004</c:v>
                </c:pt>
                <c:pt idx="7587">
                  <c:v>29.79</c:v>
                </c:pt>
                <c:pt idx="7588">
                  <c:v>30.920000000000005</c:v>
                </c:pt>
                <c:pt idx="7589">
                  <c:v>40.6</c:v>
                </c:pt>
                <c:pt idx="7590">
                  <c:v>41.534666276346606</c:v>
                </c:pt>
                <c:pt idx="7591">
                  <c:v>50.662742971887546</c:v>
                </c:pt>
                <c:pt idx="7592">
                  <c:v>44.585056381342895</c:v>
                </c:pt>
                <c:pt idx="7593">
                  <c:v>44.73</c:v>
                </c:pt>
                <c:pt idx="7594">
                  <c:v>45.49</c:v>
                </c:pt>
                <c:pt idx="7595">
                  <c:v>41.48</c:v>
                </c:pt>
                <c:pt idx="7596">
                  <c:v>48.08</c:v>
                </c:pt>
                <c:pt idx="7597">
                  <c:v>49.59</c:v>
                </c:pt>
                <c:pt idx="7598">
                  <c:v>49.800515093941314</c:v>
                </c:pt>
                <c:pt idx="7599">
                  <c:v>53.667041687594171</c:v>
                </c:pt>
                <c:pt idx="7600">
                  <c:v>68.853756817452677</c:v>
                </c:pt>
                <c:pt idx="7601">
                  <c:v>61.94212881639482</c:v>
                </c:pt>
                <c:pt idx="7602">
                  <c:v>43.220460570357481</c:v>
                </c:pt>
                <c:pt idx="7603">
                  <c:v>52.870000000000005</c:v>
                </c:pt>
                <c:pt idx="7604">
                  <c:v>39.469999999999992</c:v>
                </c:pt>
                <c:pt idx="7605">
                  <c:v>31.04</c:v>
                </c:pt>
                <c:pt idx="7606">
                  <c:v>30.380000000000003</c:v>
                </c:pt>
                <c:pt idx="7607">
                  <c:v>30.87</c:v>
                </c:pt>
                <c:pt idx="7608">
                  <c:v>30.62</c:v>
                </c:pt>
                <c:pt idx="7609">
                  <c:v>30.390000000000004</c:v>
                </c:pt>
                <c:pt idx="7610">
                  <c:v>30.13</c:v>
                </c:pt>
                <c:pt idx="7611">
                  <c:v>30.389999999999997</c:v>
                </c:pt>
                <c:pt idx="7612">
                  <c:v>31.069999999999997</c:v>
                </c:pt>
                <c:pt idx="7613">
                  <c:v>33.090450410958901</c:v>
                </c:pt>
                <c:pt idx="7614">
                  <c:v>35.324639491046185</c:v>
                </c:pt>
                <c:pt idx="7615">
                  <c:v>37.372311025517583</c:v>
                </c:pt>
                <c:pt idx="7616">
                  <c:v>33.789763565119216</c:v>
                </c:pt>
                <c:pt idx="7617">
                  <c:v>32.67</c:v>
                </c:pt>
                <c:pt idx="7618">
                  <c:v>32.32</c:v>
                </c:pt>
                <c:pt idx="7619">
                  <c:v>32.130000000000003</c:v>
                </c:pt>
                <c:pt idx="7620">
                  <c:v>31.980000000000004</c:v>
                </c:pt>
                <c:pt idx="7621">
                  <c:v>32.04</c:v>
                </c:pt>
                <c:pt idx="7622">
                  <c:v>32</c:v>
                </c:pt>
                <c:pt idx="7623">
                  <c:v>32.520000000000003</c:v>
                </c:pt>
                <c:pt idx="7624">
                  <c:v>34.68988774118106</c:v>
                </c:pt>
                <c:pt idx="7625">
                  <c:v>32.770000000000003</c:v>
                </c:pt>
                <c:pt idx="7626">
                  <c:v>32.380000000000003</c:v>
                </c:pt>
                <c:pt idx="7627">
                  <c:v>31.81</c:v>
                </c:pt>
                <c:pt idx="7628">
                  <c:v>31.439999999999998</c:v>
                </c:pt>
                <c:pt idx="7629">
                  <c:v>30.659999999999997</c:v>
                </c:pt>
                <c:pt idx="7630">
                  <c:v>29.74</c:v>
                </c:pt>
                <c:pt idx="7631">
                  <c:v>29.890000000000004</c:v>
                </c:pt>
                <c:pt idx="7632">
                  <c:v>29.539999999999996</c:v>
                </c:pt>
                <c:pt idx="7633">
                  <c:v>29.46</c:v>
                </c:pt>
                <c:pt idx="7634">
                  <c:v>29.429999999999996</c:v>
                </c:pt>
                <c:pt idx="7635">
                  <c:v>29.67</c:v>
                </c:pt>
                <c:pt idx="7636">
                  <c:v>30.540000000000003</c:v>
                </c:pt>
                <c:pt idx="7637">
                  <c:v>31.469999999999995</c:v>
                </c:pt>
                <c:pt idx="7638">
                  <c:v>33.69</c:v>
                </c:pt>
                <c:pt idx="7639">
                  <c:v>33.522938769650423</c:v>
                </c:pt>
                <c:pt idx="7640">
                  <c:v>31.95</c:v>
                </c:pt>
                <c:pt idx="7641">
                  <c:v>31.629999999999995</c:v>
                </c:pt>
                <c:pt idx="7642">
                  <c:v>31.479999999999997</c:v>
                </c:pt>
                <c:pt idx="7643">
                  <c:v>31.47</c:v>
                </c:pt>
                <c:pt idx="7644">
                  <c:v>31.570000000000004</c:v>
                </c:pt>
                <c:pt idx="7645">
                  <c:v>31.53</c:v>
                </c:pt>
                <c:pt idx="7646">
                  <c:v>37.756558269364966</c:v>
                </c:pt>
                <c:pt idx="7647">
                  <c:v>53.01</c:v>
                </c:pt>
                <c:pt idx="7648">
                  <c:v>66.597953570900472</c:v>
                </c:pt>
                <c:pt idx="7649">
                  <c:v>66.23722284908321</c:v>
                </c:pt>
                <c:pt idx="7650">
                  <c:v>64.41</c:v>
                </c:pt>
                <c:pt idx="7651">
                  <c:v>52.96</c:v>
                </c:pt>
                <c:pt idx="7652">
                  <c:v>39.840000000000011</c:v>
                </c:pt>
                <c:pt idx="7653">
                  <c:v>38.150000000000006</c:v>
                </c:pt>
                <c:pt idx="7654">
                  <c:v>37.829999999999991</c:v>
                </c:pt>
                <c:pt idx="7655">
                  <c:v>37.04</c:v>
                </c:pt>
                <c:pt idx="7656">
                  <c:v>29.54</c:v>
                </c:pt>
                <c:pt idx="7657">
                  <c:v>29.35</c:v>
                </c:pt>
                <c:pt idx="7658">
                  <c:v>29.280000000000005</c:v>
                </c:pt>
                <c:pt idx="7659">
                  <c:v>29.86</c:v>
                </c:pt>
                <c:pt idx="7660">
                  <c:v>30.509999999999998</c:v>
                </c:pt>
                <c:pt idx="7661">
                  <c:v>31.408803418803419</c:v>
                </c:pt>
                <c:pt idx="7662">
                  <c:v>40.210597214484679</c:v>
                </c:pt>
                <c:pt idx="7663">
                  <c:v>37.995953327571307</c:v>
                </c:pt>
                <c:pt idx="7664">
                  <c:v>34.097793849178487</c:v>
                </c:pt>
                <c:pt idx="7665">
                  <c:v>34.426523089790308</c:v>
                </c:pt>
                <c:pt idx="7666">
                  <c:v>33.357563276214428</c:v>
                </c:pt>
                <c:pt idx="7667">
                  <c:v>32.213964641715251</c:v>
                </c:pt>
                <c:pt idx="7668">
                  <c:v>32.901686597762016</c:v>
                </c:pt>
                <c:pt idx="7669">
                  <c:v>31.08</c:v>
                </c:pt>
                <c:pt idx="7670">
                  <c:v>31.04</c:v>
                </c:pt>
                <c:pt idx="7671">
                  <c:v>31.019999999999996</c:v>
                </c:pt>
                <c:pt idx="7672">
                  <c:v>31.08</c:v>
                </c:pt>
                <c:pt idx="7673">
                  <c:v>30.84</c:v>
                </c:pt>
                <c:pt idx="7674">
                  <c:v>30.370000000000005</c:v>
                </c:pt>
                <c:pt idx="7675">
                  <c:v>29.819999999999997</c:v>
                </c:pt>
                <c:pt idx="7676">
                  <c:v>29.420000000000005</c:v>
                </c:pt>
                <c:pt idx="7677">
                  <c:v>28.63</c:v>
                </c:pt>
                <c:pt idx="7678">
                  <c:v>27.56</c:v>
                </c:pt>
                <c:pt idx="7679">
                  <c:v>27.819999999999997</c:v>
                </c:pt>
                <c:pt idx="7680">
                  <c:v>27.280000000000005</c:v>
                </c:pt>
                <c:pt idx="7681">
                  <c:v>27.04</c:v>
                </c:pt>
                <c:pt idx="7682">
                  <c:v>27.02</c:v>
                </c:pt>
                <c:pt idx="7683">
                  <c:v>27.779999999999998</c:v>
                </c:pt>
                <c:pt idx="7684">
                  <c:v>28.489999999999995</c:v>
                </c:pt>
                <c:pt idx="7685">
                  <c:v>29.739999999999995</c:v>
                </c:pt>
                <c:pt idx="7686">
                  <c:v>30.75</c:v>
                </c:pt>
                <c:pt idx="7687">
                  <c:v>30.909999999999997</c:v>
                </c:pt>
                <c:pt idx="7688">
                  <c:v>30.59</c:v>
                </c:pt>
                <c:pt idx="7689">
                  <c:v>30.2</c:v>
                </c:pt>
                <c:pt idx="7690">
                  <c:v>29.97</c:v>
                </c:pt>
                <c:pt idx="7691">
                  <c:v>29.93</c:v>
                </c:pt>
                <c:pt idx="7692">
                  <c:v>29.96</c:v>
                </c:pt>
                <c:pt idx="7693">
                  <c:v>29.97</c:v>
                </c:pt>
                <c:pt idx="7694">
                  <c:v>29.99</c:v>
                </c:pt>
                <c:pt idx="7695">
                  <c:v>30.319999999999997</c:v>
                </c:pt>
                <c:pt idx="7696">
                  <c:v>30.629999999999992</c:v>
                </c:pt>
                <c:pt idx="7697">
                  <c:v>30.36</c:v>
                </c:pt>
                <c:pt idx="7698">
                  <c:v>29.739999999999995</c:v>
                </c:pt>
                <c:pt idx="7699">
                  <c:v>28.969999999999995</c:v>
                </c:pt>
                <c:pt idx="7700">
                  <c:v>28.519999999999996</c:v>
                </c:pt>
                <c:pt idx="7701">
                  <c:v>27.929999999999996</c:v>
                </c:pt>
                <c:pt idx="7702">
                  <c:v>27.53</c:v>
                </c:pt>
                <c:pt idx="7703">
                  <c:v>27.11</c:v>
                </c:pt>
                <c:pt idx="7704">
                  <c:v>23.559999999999995</c:v>
                </c:pt>
                <c:pt idx="7705">
                  <c:v>20.039999999999996</c:v>
                </c:pt>
                <c:pt idx="7706">
                  <c:v>17.63</c:v>
                </c:pt>
                <c:pt idx="7707">
                  <c:v>13.330000000000002</c:v>
                </c:pt>
                <c:pt idx="7708">
                  <c:v>12.87</c:v>
                </c:pt>
                <c:pt idx="7709">
                  <c:v>16.12</c:v>
                </c:pt>
                <c:pt idx="7710">
                  <c:v>19.38</c:v>
                </c:pt>
                <c:pt idx="7711">
                  <c:v>27.969999999999995</c:v>
                </c:pt>
                <c:pt idx="7712">
                  <c:v>28.61</c:v>
                </c:pt>
                <c:pt idx="7713">
                  <c:v>28.080000000000002</c:v>
                </c:pt>
                <c:pt idx="7714">
                  <c:v>20.54</c:v>
                </c:pt>
                <c:pt idx="7715">
                  <c:v>18.190000000000001</c:v>
                </c:pt>
                <c:pt idx="7716">
                  <c:v>13.009999999999998</c:v>
                </c:pt>
                <c:pt idx="7717">
                  <c:v>18.46</c:v>
                </c:pt>
                <c:pt idx="7718">
                  <c:v>25.655638368180728</c:v>
                </c:pt>
                <c:pt idx="7719">
                  <c:v>28.570630837055511</c:v>
                </c:pt>
                <c:pt idx="7720">
                  <c:v>29.77</c:v>
                </c:pt>
                <c:pt idx="7721">
                  <c:v>29.7</c:v>
                </c:pt>
                <c:pt idx="7722">
                  <c:v>25.076198741372313</c:v>
                </c:pt>
                <c:pt idx="7723">
                  <c:v>13.059999999999999</c:v>
                </c:pt>
                <c:pt idx="7724">
                  <c:v>12.69</c:v>
                </c:pt>
                <c:pt idx="7725">
                  <c:v>11.38</c:v>
                </c:pt>
                <c:pt idx="7726">
                  <c:v>0.41</c:v>
                </c:pt>
                <c:pt idx="7727">
                  <c:v>0.36999999999999994</c:v>
                </c:pt>
                <c:pt idx="7728">
                  <c:v>4.33</c:v>
                </c:pt>
                <c:pt idx="7729">
                  <c:v>2.91</c:v>
                </c:pt>
                <c:pt idx="7730">
                  <c:v>2.17</c:v>
                </c:pt>
                <c:pt idx="7731">
                  <c:v>2.14</c:v>
                </c:pt>
                <c:pt idx="7732">
                  <c:v>0.03</c:v>
                </c:pt>
                <c:pt idx="7733">
                  <c:v>-3.0000000000000002E-2</c:v>
                </c:pt>
                <c:pt idx="7734">
                  <c:v>0.04</c:v>
                </c:pt>
                <c:pt idx="7735">
                  <c:v>5.0799999999999992</c:v>
                </c:pt>
                <c:pt idx="7736">
                  <c:v>23.49</c:v>
                </c:pt>
                <c:pt idx="7737">
                  <c:v>25.050000000000004</c:v>
                </c:pt>
                <c:pt idx="7738">
                  <c:v>28.67</c:v>
                </c:pt>
                <c:pt idx="7739">
                  <c:v>28.61</c:v>
                </c:pt>
                <c:pt idx="7740">
                  <c:v>28.45</c:v>
                </c:pt>
                <c:pt idx="7741">
                  <c:v>28.76</c:v>
                </c:pt>
                <c:pt idx="7742">
                  <c:v>29.21</c:v>
                </c:pt>
                <c:pt idx="7743">
                  <c:v>29.7</c:v>
                </c:pt>
                <c:pt idx="7744">
                  <c:v>30.330000000000005</c:v>
                </c:pt>
                <c:pt idx="7745">
                  <c:v>30.4</c:v>
                </c:pt>
                <c:pt idx="7746">
                  <c:v>29.950000000000003</c:v>
                </c:pt>
                <c:pt idx="7747">
                  <c:v>29.619999999999997</c:v>
                </c:pt>
                <c:pt idx="7748">
                  <c:v>29.390000000000004</c:v>
                </c:pt>
                <c:pt idx="7749">
                  <c:v>29.2</c:v>
                </c:pt>
                <c:pt idx="7750">
                  <c:v>28.7</c:v>
                </c:pt>
                <c:pt idx="7751">
                  <c:v>28.660000000000004</c:v>
                </c:pt>
                <c:pt idx="7752">
                  <c:v>28.13</c:v>
                </c:pt>
                <c:pt idx="7753">
                  <c:v>28.199999999999996</c:v>
                </c:pt>
                <c:pt idx="7754">
                  <c:v>28.48</c:v>
                </c:pt>
                <c:pt idx="7755">
                  <c:v>21.890000000000004</c:v>
                </c:pt>
                <c:pt idx="7756">
                  <c:v>25.716397747364283</c:v>
                </c:pt>
                <c:pt idx="7757">
                  <c:v>37.746698609692871</c:v>
                </c:pt>
                <c:pt idx="7758">
                  <c:v>41.989999999999995</c:v>
                </c:pt>
                <c:pt idx="7759">
                  <c:v>43.919999999999995</c:v>
                </c:pt>
                <c:pt idx="7760">
                  <c:v>43.909999999999989</c:v>
                </c:pt>
                <c:pt idx="7761">
                  <c:v>43.68</c:v>
                </c:pt>
                <c:pt idx="7762">
                  <c:v>43.939999999999991</c:v>
                </c:pt>
                <c:pt idx="7763">
                  <c:v>44.359999999999992</c:v>
                </c:pt>
                <c:pt idx="7764">
                  <c:v>49.050000000000004</c:v>
                </c:pt>
                <c:pt idx="7765">
                  <c:v>53.459999999999994</c:v>
                </c:pt>
                <c:pt idx="7766">
                  <c:v>50.99</c:v>
                </c:pt>
                <c:pt idx="7767">
                  <c:v>59.300000000000004</c:v>
                </c:pt>
                <c:pt idx="7768">
                  <c:v>66.02</c:v>
                </c:pt>
                <c:pt idx="7769">
                  <c:v>53.379999999999995</c:v>
                </c:pt>
                <c:pt idx="7770">
                  <c:v>47.929999999999993</c:v>
                </c:pt>
                <c:pt idx="7771">
                  <c:v>43.95</c:v>
                </c:pt>
                <c:pt idx="7772">
                  <c:v>38.629999999999995</c:v>
                </c:pt>
                <c:pt idx="7773">
                  <c:v>38.76</c:v>
                </c:pt>
                <c:pt idx="7774">
                  <c:v>33.549999999999997</c:v>
                </c:pt>
                <c:pt idx="7775">
                  <c:v>36.03</c:v>
                </c:pt>
                <c:pt idx="7776">
                  <c:v>35.46</c:v>
                </c:pt>
                <c:pt idx="7777">
                  <c:v>35.630000000000003</c:v>
                </c:pt>
                <c:pt idx="7778">
                  <c:v>35.729999999999997</c:v>
                </c:pt>
                <c:pt idx="7779">
                  <c:v>35.42</c:v>
                </c:pt>
                <c:pt idx="7780">
                  <c:v>37.92</c:v>
                </c:pt>
                <c:pt idx="7781">
                  <c:v>46.51</c:v>
                </c:pt>
                <c:pt idx="7782">
                  <c:v>67.86</c:v>
                </c:pt>
                <c:pt idx="7783">
                  <c:v>72.63</c:v>
                </c:pt>
                <c:pt idx="7784">
                  <c:v>54.99</c:v>
                </c:pt>
                <c:pt idx="7785">
                  <c:v>54.26</c:v>
                </c:pt>
                <c:pt idx="7786">
                  <c:v>64.03</c:v>
                </c:pt>
                <c:pt idx="7787">
                  <c:v>55.27000000000001</c:v>
                </c:pt>
                <c:pt idx="7788">
                  <c:v>64.91</c:v>
                </c:pt>
                <c:pt idx="7789">
                  <c:v>62.65</c:v>
                </c:pt>
                <c:pt idx="7790">
                  <c:v>62.649999999999991</c:v>
                </c:pt>
                <c:pt idx="7791">
                  <c:v>62.940553662691649</c:v>
                </c:pt>
                <c:pt idx="7792">
                  <c:v>68.315950999355266</c:v>
                </c:pt>
                <c:pt idx="7793">
                  <c:v>57.46</c:v>
                </c:pt>
                <c:pt idx="7794">
                  <c:v>43.99</c:v>
                </c:pt>
                <c:pt idx="7795">
                  <c:v>35.42</c:v>
                </c:pt>
                <c:pt idx="7796">
                  <c:v>32.64</c:v>
                </c:pt>
                <c:pt idx="7797">
                  <c:v>31.310000000000002</c:v>
                </c:pt>
                <c:pt idx="7798">
                  <c:v>29.69</c:v>
                </c:pt>
                <c:pt idx="7799">
                  <c:v>27.15</c:v>
                </c:pt>
                <c:pt idx="7800">
                  <c:v>15.699999999999998</c:v>
                </c:pt>
                <c:pt idx="7801">
                  <c:v>10.7</c:v>
                </c:pt>
                <c:pt idx="7802">
                  <c:v>10.96</c:v>
                </c:pt>
                <c:pt idx="7803">
                  <c:v>10.749999999999998</c:v>
                </c:pt>
                <c:pt idx="7804">
                  <c:v>20.239999999999998</c:v>
                </c:pt>
                <c:pt idx="7805">
                  <c:v>30.144483639459921</c:v>
                </c:pt>
                <c:pt idx="7806">
                  <c:v>37.139393737930163</c:v>
                </c:pt>
                <c:pt idx="7807">
                  <c:v>35.72</c:v>
                </c:pt>
                <c:pt idx="7808">
                  <c:v>32.49</c:v>
                </c:pt>
                <c:pt idx="7809">
                  <c:v>31.98</c:v>
                </c:pt>
                <c:pt idx="7810">
                  <c:v>31.8</c:v>
                </c:pt>
                <c:pt idx="7811">
                  <c:v>31.029999999999998</c:v>
                </c:pt>
                <c:pt idx="7812">
                  <c:v>31.3</c:v>
                </c:pt>
                <c:pt idx="7813">
                  <c:v>32.56</c:v>
                </c:pt>
                <c:pt idx="7814">
                  <c:v>33.44</c:v>
                </c:pt>
                <c:pt idx="7815">
                  <c:v>34.159999999999997</c:v>
                </c:pt>
                <c:pt idx="7816">
                  <c:v>34</c:v>
                </c:pt>
                <c:pt idx="7817">
                  <c:v>31.85</c:v>
                </c:pt>
                <c:pt idx="7818">
                  <c:v>31.04</c:v>
                </c:pt>
                <c:pt idx="7819">
                  <c:v>30.03</c:v>
                </c:pt>
                <c:pt idx="7820">
                  <c:v>29.740000000000002</c:v>
                </c:pt>
                <c:pt idx="7821">
                  <c:v>28.660000000000004</c:v>
                </c:pt>
                <c:pt idx="7822">
                  <c:v>20.784417063222296</c:v>
                </c:pt>
                <c:pt idx="7823">
                  <c:v>9.67</c:v>
                </c:pt>
                <c:pt idx="7824">
                  <c:v>10.558655158080056</c:v>
                </c:pt>
                <c:pt idx="7825">
                  <c:v>5.222748472656833</c:v>
                </c:pt>
                <c:pt idx="7826">
                  <c:v>6.5177280747533501</c:v>
                </c:pt>
                <c:pt idx="7827">
                  <c:v>9.4600000000000009</c:v>
                </c:pt>
                <c:pt idx="7828">
                  <c:v>12.77</c:v>
                </c:pt>
                <c:pt idx="7829">
                  <c:v>17.492544849359998</c:v>
                </c:pt>
                <c:pt idx="7830">
                  <c:v>31.049999999999997</c:v>
                </c:pt>
                <c:pt idx="7831">
                  <c:v>31.09</c:v>
                </c:pt>
                <c:pt idx="7832">
                  <c:v>29.959999999999997</c:v>
                </c:pt>
                <c:pt idx="7833">
                  <c:v>25.031925311592165</c:v>
                </c:pt>
                <c:pt idx="7834">
                  <c:v>18.045116052136333</c:v>
                </c:pt>
                <c:pt idx="7835">
                  <c:v>15.281091745007892</c:v>
                </c:pt>
                <c:pt idx="7836">
                  <c:v>18.364107094806709</c:v>
                </c:pt>
                <c:pt idx="7837">
                  <c:v>26.375686021505377</c:v>
                </c:pt>
                <c:pt idx="7838">
                  <c:v>30.02</c:v>
                </c:pt>
                <c:pt idx="7839">
                  <c:v>30.75</c:v>
                </c:pt>
                <c:pt idx="7840">
                  <c:v>30.88</c:v>
                </c:pt>
                <c:pt idx="7841">
                  <c:v>30.21</c:v>
                </c:pt>
                <c:pt idx="7842">
                  <c:v>29.690000000000005</c:v>
                </c:pt>
                <c:pt idx="7843">
                  <c:v>28.81</c:v>
                </c:pt>
                <c:pt idx="7844">
                  <c:v>28.64</c:v>
                </c:pt>
                <c:pt idx="7845">
                  <c:v>27.410000000000004</c:v>
                </c:pt>
                <c:pt idx="7846">
                  <c:v>24.05</c:v>
                </c:pt>
                <c:pt idx="7847">
                  <c:v>26.93</c:v>
                </c:pt>
                <c:pt idx="7848">
                  <c:v>27.080000000000002</c:v>
                </c:pt>
                <c:pt idx="7849">
                  <c:v>27.369999999999997</c:v>
                </c:pt>
                <c:pt idx="7850">
                  <c:v>27.100000000000009</c:v>
                </c:pt>
                <c:pt idx="7851">
                  <c:v>28.22</c:v>
                </c:pt>
                <c:pt idx="7852">
                  <c:v>29.55</c:v>
                </c:pt>
                <c:pt idx="7853">
                  <c:v>31.24</c:v>
                </c:pt>
                <c:pt idx="7854">
                  <c:v>32.880000000000003</c:v>
                </c:pt>
                <c:pt idx="7855">
                  <c:v>48</c:v>
                </c:pt>
                <c:pt idx="7856">
                  <c:v>46.920000000000009</c:v>
                </c:pt>
                <c:pt idx="7857">
                  <c:v>45.430000000000007</c:v>
                </c:pt>
                <c:pt idx="7858">
                  <c:v>46.5</c:v>
                </c:pt>
                <c:pt idx="7859">
                  <c:v>39.57</c:v>
                </c:pt>
                <c:pt idx="7860">
                  <c:v>41.13</c:v>
                </c:pt>
                <c:pt idx="7861">
                  <c:v>43.13</c:v>
                </c:pt>
                <c:pt idx="7862">
                  <c:v>44.49</c:v>
                </c:pt>
                <c:pt idx="7863">
                  <c:v>46.939999999999991</c:v>
                </c:pt>
                <c:pt idx="7864">
                  <c:v>53.969999999999992</c:v>
                </c:pt>
                <c:pt idx="7865">
                  <c:v>56.24</c:v>
                </c:pt>
                <c:pt idx="7866">
                  <c:v>45.08</c:v>
                </c:pt>
                <c:pt idx="7867">
                  <c:v>31.6</c:v>
                </c:pt>
                <c:pt idx="7868">
                  <c:v>31.18</c:v>
                </c:pt>
                <c:pt idx="7869">
                  <c:v>30.179999999999996</c:v>
                </c:pt>
                <c:pt idx="7870">
                  <c:v>29.34</c:v>
                </c:pt>
                <c:pt idx="7871">
                  <c:v>29.99</c:v>
                </c:pt>
                <c:pt idx="7872">
                  <c:v>29.54</c:v>
                </c:pt>
                <c:pt idx="7873">
                  <c:v>29.369999999999997</c:v>
                </c:pt>
                <c:pt idx="7874">
                  <c:v>29.31</c:v>
                </c:pt>
                <c:pt idx="7875">
                  <c:v>29.52</c:v>
                </c:pt>
                <c:pt idx="7876">
                  <c:v>29.75</c:v>
                </c:pt>
                <c:pt idx="7877">
                  <c:v>29.950000000000003</c:v>
                </c:pt>
                <c:pt idx="7878">
                  <c:v>30.196695166063801</c:v>
                </c:pt>
                <c:pt idx="7879">
                  <c:v>30.281824571267926</c:v>
                </c:pt>
                <c:pt idx="7880">
                  <c:v>31.016255461025519</c:v>
                </c:pt>
                <c:pt idx="7881">
                  <c:v>31.504780545670226</c:v>
                </c:pt>
                <c:pt idx="7882">
                  <c:v>31.369799015040599</c:v>
                </c:pt>
                <c:pt idx="7883">
                  <c:v>31.146138342277876</c:v>
                </c:pt>
                <c:pt idx="7884">
                  <c:v>30.919221613901456</c:v>
                </c:pt>
                <c:pt idx="7885">
                  <c:v>30.840401963075482</c:v>
                </c:pt>
                <c:pt idx="7886">
                  <c:v>31.461549295774645</c:v>
                </c:pt>
                <c:pt idx="7887">
                  <c:v>32.603223037831739</c:v>
                </c:pt>
                <c:pt idx="7888">
                  <c:v>33.661570787433703</c:v>
                </c:pt>
                <c:pt idx="7889">
                  <c:v>32.969560008262754</c:v>
                </c:pt>
                <c:pt idx="7890">
                  <c:v>31.67426550598476</c:v>
                </c:pt>
                <c:pt idx="7891">
                  <c:v>30.991467968974433</c:v>
                </c:pt>
                <c:pt idx="7892">
                  <c:v>30.179999999999996</c:v>
                </c:pt>
                <c:pt idx="7893">
                  <c:v>29.881113047808764</c:v>
                </c:pt>
                <c:pt idx="7894">
                  <c:v>27.766956816876402</c:v>
                </c:pt>
                <c:pt idx="7895">
                  <c:v>19.210000000000004</c:v>
                </c:pt>
                <c:pt idx="7896">
                  <c:v>12.589999999999998</c:v>
                </c:pt>
                <c:pt idx="7897">
                  <c:v>11.559999999999999</c:v>
                </c:pt>
                <c:pt idx="7898">
                  <c:v>11.45</c:v>
                </c:pt>
                <c:pt idx="7899">
                  <c:v>15.74</c:v>
                </c:pt>
                <c:pt idx="7900">
                  <c:v>12.849999999999998</c:v>
                </c:pt>
                <c:pt idx="7901">
                  <c:v>17.11</c:v>
                </c:pt>
                <c:pt idx="7902">
                  <c:v>28.110000000000003</c:v>
                </c:pt>
                <c:pt idx="7903">
                  <c:v>28.21</c:v>
                </c:pt>
                <c:pt idx="7904">
                  <c:v>28.490000000000002</c:v>
                </c:pt>
                <c:pt idx="7905">
                  <c:v>29.03</c:v>
                </c:pt>
                <c:pt idx="7906">
                  <c:v>29.059999999999995</c:v>
                </c:pt>
                <c:pt idx="7907">
                  <c:v>29.039999999999996</c:v>
                </c:pt>
                <c:pt idx="7908">
                  <c:v>28.5</c:v>
                </c:pt>
                <c:pt idx="7909">
                  <c:v>21.43</c:v>
                </c:pt>
                <c:pt idx="7910">
                  <c:v>25.409999999999997</c:v>
                </c:pt>
                <c:pt idx="7911">
                  <c:v>29.73</c:v>
                </c:pt>
                <c:pt idx="7912">
                  <c:v>30.06</c:v>
                </c:pt>
                <c:pt idx="7913">
                  <c:v>29.790000000000003</c:v>
                </c:pt>
                <c:pt idx="7914">
                  <c:v>29.51</c:v>
                </c:pt>
                <c:pt idx="7915">
                  <c:v>29.07</c:v>
                </c:pt>
                <c:pt idx="7916">
                  <c:v>29.009999999999998</c:v>
                </c:pt>
                <c:pt idx="7917">
                  <c:v>28.37</c:v>
                </c:pt>
                <c:pt idx="7918">
                  <c:v>21.94</c:v>
                </c:pt>
                <c:pt idx="7919">
                  <c:v>11.47</c:v>
                </c:pt>
                <c:pt idx="7920">
                  <c:v>14.950000000000001</c:v>
                </c:pt>
                <c:pt idx="7921">
                  <c:v>17.059999999999999</c:v>
                </c:pt>
                <c:pt idx="7922">
                  <c:v>13.059999999999999</c:v>
                </c:pt>
                <c:pt idx="7923">
                  <c:v>10.019999999999998</c:v>
                </c:pt>
                <c:pt idx="7924">
                  <c:v>23.559516302533478</c:v>
                </c:pt>
                <c:pt idx="7925">
                  <c:v>37.275686591276255</c:v>
                </c:pt>
                <c:pt idx="7926">
                  <c:v>36.119999999999997</c:v>
                </c:pt>
                <c:pt idx="7927">
                  <c:v>39.1</c:v>
                </c:pt>
                <c:pt idx="7928">
                  <c:v>35.57</c:v>
                </c:pt>
                <c:pt idx="7929">
                  <c:v>34.06</c:v>
                </c:pt>
                <c:pt idx="7930">
                  <c:v>34.513018390580903</c:v>
                </c:pt>
                <c:pt idx="7931">
                  <c:v>31.301202411355948</c:v>
                </c:pt>
                <c:pt idx="7932">
                  <c:v>32.380000000000003</c:v>
                </c:pt>
                <c:pt idx="7933">
                  <c:v>33.33</c:v>
                </c:pt>
                <c:pt idx="7934">
                  <c:v>34.82</c:v>
                </c:pt>
                <c:pt idx="7935">
                  <c:v>35.700000000000003</c:v>
                </c:pt>
                <c:pt idx="7936">
                  <c:v>40.319999999999993</c:v>
                </c:pt>
                <c:pt idx="7937">
                  <c:v>36.700000000000003</c:v>
                </c:pt>
                <c:pt idx="7938">
                  <c:v>35.260000000000005</c:v>
                </c:pt>
                <c:pt idx="7939">
                  <c:v>34.174902822151225</c:v>
                </c:pt>
                <c:pt idx="7940">
                  <c:v>31.123709902370994</c:v>
                </c:pt>
                <c:pt idx="7941">
                  <c:v>30.000000000000004</c:v>
                </c:pt>
                <c:pt idx="7942">
                  <c:v>28.63</c:v>
                </c:pt>
                <c:pt idx="7943">
                  <c:v>28.74</c:v>
                </c:pt>
                <c:pt idx="7944">
                  <c:v>28.469999999999995</c:v>
                </c:pt>
                <c:pt idx="7945">
                  <c:v>28.270000000000003</c:v>
                </c:pt>
                <c:pt idx="7946">
                  <c:v>28.080000000000002</c:v>
                </c:pt>
                <c:pt idx="7947">
                  <c:v>28.55</c:v>
                </c:pt>
                <c:pt idx="7948">
                  <c:v>25.271225990793159</c:v>
                </c:pt>
                <c:pt idx="7949">
                  <c:v>33.431037389237083</c:v>
                </c:pt>
                <c:pt idx="7950">
                  <c:v>40.130000000000003</c:v>
                </c:pt>
                <c:pt idx="7951">
                  <c:v>37.78</c:v>
                </c:pt>
                <c:pt idx="7952">
                  <c:v>36.389999999999993</c:v>
                </c:pt>
                <c:pt idx="7953">
                  <c:v>35.839999999999996</c:v>
                </c:pt>
                <c:pt idx="7954">
                  <c:v>36.049999999999997</c:v>
                </c:pt>
                <c:pt idx="7955">
                  <c:v>39.909999999999997</c:v>
                </c:pt>
                <c:pt idx="7956">
                  <c:v>43.99</c:v>
                </c:pt>
                <c:pt idx="7957">
                  <c:v>43.400000000000006</c:v>
                </c:pt>
                <c:pt idx="7958">
                  <c:v>47.08</c:v>
                </c:pt>
                <c:pt idx="7959">
                  <c:v>51.97</c:v>
                </c:pt>
                <c:pt idx="7960">
                  <c:v>58.27</c:v>
                </c:pt>
                <c:pt idx="7961">
                  <c:v>48.02</c:v>
                </c:pt>
                <c:pt idx="7962">
                  <c:v>36.83</c:v>
                </c:pt>
                <c:pt idx="7963">
                  <c:v>34.979999999999997</c:v>
                </c:pt>
                <c:pt idx="7964">
                  <c:v>33.579999999999991</c:v>
                </c:pt>
                <c:pt idx="7965">
                  <c:v>32.22</c:v>
                </c:pt>
                <c:pt idx="7966">
                  <c:v>30.820000000000004</c:v>
                </c:pt>
                <c:pt idx="7967">
                  <c:v>30.48</c:v>
                </c:pt>
                <c:pt idx="7968">
                  <c:v>30.04</c:v>
                </c:pt>
                <c:pt idx="7969">
                  <c:v>29.8</c:v>
                </c:pt>
                <c:pt idx="7970">
                  <c:v>30.209999999999997</c:v>
                </c:pt>
                <c:pt idx="7971">
                  <c:v>31.13</c:v>
                </c:pt>
                <c:pt idx="7972">
                  <c:v>33.049999999999997</c:v>
                </c:pt>
                <c:pt idx="7973">
                  <c:v>36.509577677224733</c:v>
                </c:pt>
                <c:pt idx="7974">
                  <c:v>56.71</c:v>
                </c:pt>
                <c:pt idx="7975">
                  <c:v>68.83</c:v>
                </c:pt>
                <c:pt idx="7976">
                  <c:v>53.26</c:v>
                </c:pt>
                <c:pt idx="7977">
                  <c:v>49.36999999999999</c:v>
                </c:pt>
                <c:pt idx="7978">
                  <c:v>45.23264467005076</c:v>
                </c:pt>
                <c:pt idx="7979">
                  <c:v>46.910000000000004</c:v>
                </c:pt>
                <c:pt idx="7980">
                  <c:v>48.230865074241443</c:v>
                </c:pt>
                <c:pt idx="7981">
                  <c:v>50.12059914407989</c:v>
                </c:pt>
                <c:pt idx="7982">
                  <c:v>67.111084570690778</c:v>
                </c:pt>
                <c:pt idx="7983">
                  <c:v>94.763387755102045</c:v>
                </c:pt>
                <c:pt idx="7984">
                  <c:v>114.7</c:v>
                </c:pt>
                <c:pt idx="7985">
                  <c:v>69.702742358078609</c:v>
                </c:pt>
                <c:pt idx="7986">
                  <c:v>44.070915178571425</c:v>
                </c:pt>
                <c:pt idx="7987">
                  <c:v>40.620771653543308</c:v>
                </c:pt>
                <c:pt idx="7988">
                  <c:v>35.89938574938575</c:v>
                </c:pt>
                <c:pt idx="7989">
                  <c:v>33.36</c:v>
                </c:pt>
                <c:pt idx="7990">
                  <c:v>32</c:v>
                </c:pt>
                <c:pt idx="7991">
                  <c:v>31.73</c:v>
                </c:pt>
                <c:pt idx="7992">
                  <c:v>30.84</c:v>
                </c:pt>
                <c:pt idx="7993">
                  <c:v>30.65</c:v>
                </c:pt>
                <c:pt idx="7994">
                  <c:v>30.86</c:v>
                </c:pt>
                <c:pt idx="7995">
                  <c:v>31.96</c:v>
                </c:pt>
                <c:pt idx="7996">
                  <c:v>33.14</c:v>
                </c:pt>
                <c:pt idx="7997">
                  <c:v>37.290000000000006</c:v>
                </c:pt>
                <c:pt idx="7998">
                  <c:v>54.940000000000005</c:v>
                </c:pt>
                <c:pt idx="7999">
                  <c:v>70.409999999999982</c:v>
                </c:pt>
                <c:pt idx="8000">
                  <c:v>53.51287896592244</c:v>
                </c:pt>
                <c:pt idx="8001">
                  <c:v>49.372239004886715</c:v>
                </c:pt>
                <c:pt idx="8002">
                  <c:v>44.503179571663914</c:v>
                </c:pt>
                <c:pt idx="8003">
                  <c:v>49.033492753623193</c:v>
                </c:pt>
                <c:pt idx="8004">
                  <c:v>50.047752862595416</c:v>
                </c:pt>
                <c:pt idx="8005">
                  <c:v>49.7</c:v>
                </c:pt>
                <c:pt idx="8006">
                  <c:v>59.970000000000006</c:v>
                </c:pt>
                <c:pt idx="8007">
                  <c:v>68.650000000000006</c:v>
                </c:pt>
                <c:pt idx="8008">
                  <c:v>61.64</c:v>
                </c:pt>
                <c:pt idx="8009">
                  <c:v>48.830892026311567</c:v>
                </c:pt>
                <c:pt idx="8010">
                  <c:v>39.785803230543316</c:v>
                </c:pt>
                <c:pt idx="8011">
                  <c:v>35.72</c:v>
                </c:pt>
                <c:pt idx="8012">
                  <c:v>34.380000000000003</c:v>
                </c:pt>
                <c:pt idx="8013">
                  <c:v>32.880000000000003</c:v>
                </c:pt>
                <c:pt idx="8014">
                  <c:v>30.920000000000005</c:v>
                </c:pt>
                <c:pt idx="8015">
                  <c:v>31.239999999999991</c:v>
                </c:pt>
                <c:pt idx="8016">
                  <c:v>30.02</c:v>
                </c:pt>
                <c:pt idx="8017">
                  <c:v>29.759999999999998</c:v>
                </c:pt>
                <c:pt idx="8018">
                  <c:v>29.77</c:v>
                </c:pt>
                <c:pt idx="8019">
                  <c:v>30.4</c:v>
                </c:pt>
                <c:pt idx="8020">
                  <c:v>31.83</c:v>
                </c:pt>
                <c:pt idx="8021">
                  <c:v>35.57</c:v>
                </c:pt>
                <c:pt idx="8022">
                  <c:v>45.12</c:v>
                </c:pt>
                <c:pt idx="8023">
                  <c:v>50.85</c:v>
                </c:pt>
                <c:pt idx="8024">
                  <c:v>53.290000000000006</c:v>
                </c:pt>
                <c:pt idx="8025">
                  <c:v>47.019999999999996</c:v>
                </c:pt>
                <c:pt idx="8026">
                  <c:v>47.509999999999991</c:v>
                </c:pt>
                <c:pt idx="8027">
                  <c:v>47.36</c:v>
                </c:pt>
                <c:pt idx="8028">
                  <c:v>42.689073692105758</c:v>
                </c:pt>
                <c:pt idx="8029">
                  <c:v>42.434916915210906</c:v>
                </c:pt>
                <c:pt idx="8030">
                  <c:v>40.324475138121549</c:v>
                </c:pt>
                <c:pt idx="8031">
                  <c:v>45.219779299847794</c:v>
                </c:pt>
                <c:pt idx="8032">
                  <c:v>65.7</c:v>
                </c:pt>
                <c:pt idx="8033">
                  <c:v>61.86999999999999</c:v>
                </c:pt>
                <c:pt idx="8034">
                  <c:v>48.29</c:v>
                </c:pt>
                <c:pt idx="8035">
                  <c:v>41.43</c:v>
                </c:pt>
                <c:pt idx="8036">
                  <c:v>41.43</c:v>
                </c:pt>
                <c:pt idx="8037">
                  <c:v>37.96</c:v>
                </c:pt>
                <c:pt idx="8038">
                  <c:v>34.68</c:v>
                </c:pt>
                <c:pt idx="8039">
                  <c:v>31.470000000000002</c:v>
                </c:pt>
                <c:pt idx="8040">
                  <c:v>30.56</c:v>
                </c:pt>
                <c:pt idx="8041">
                  <c:v>29.92</c:v>
                </c:pt>
                <c:pt idx="8042">
                  <c:v>29.8</c:v>
                </c:pt>
                <c:pt idx="8043">
                  <c:v>29.830000000000002</c:v>
                </c:pt>
                <c:pt idx="8044">
                  <c:v>30.320000000000004</c:v>
                </c:pt>
                <c:pt idx="8045">
                  <c:v>30.8</c:v>
                </c:pt>
                <c:pt idx="8046">
                  <c:v>30.950000000000006</c:v>
                </c:pt>
                <c:pt idx="8047">
                  <c:v>30.93</c:v>
                </c:pt>
                <c:pt idx="8048">
                  <c:v>31.539999999999996</c:v>
                </c:pt>
                <c:pt idx="8049">
                  <c:v>31.88</c:v>
                </c:pt>
                <c:pt idx="8050">
                  <c:v>31.65</c:v>
                </c:pt>
                <c:pt idx="8051">
                  <c:v>31.11</c:v>
                </c:pt>
                <c:pt idx="8052">
                  <c:v>30.739999999999995</c:v>
                </c:pt>
                <c:pt idx="8053">
                  <c:v>30.71</c:v>
                </c:pt>
                <c:pt idx="8054">
                  <c:v>31.05</c:v>
                </c:pt>
                <c:pt idx="8055">
                  <c:v>31.669999999999998</c:v>
                </c:pt>
                <c:pt idx="8056">
                  <c:v>31.9</c:v>
                </c:pt>
                <c:pt idx="8057">
                  <c:v>31.230000000000004</c:v>
                </c:pt>
                <c:pt idx="8058">
                  <c:v>30.02</c:v>
                </c:pt>
                <c:pt idx="8059">
                  <c:v>29.430000000000003</c:v>
                </c:pt>
                <c:pt idx="8060">
                  <c:v>28.82</c:v>
                </c:pt>
                <c:pt idx="8061">
                  <c:v>28.350000000000005</c:v>
                </c:pt>
                <c:pt idx="8062">
                  <c:v>27.73</c:v>
                </c:pt>
                <c:pt idx="8063">
                  <c:v>28.12</c:v>
                </c:pt>
                <c:pt idx="8064">
                  <c:v>27.689999999999994</c:v>
                </c:pt>
                <c:pt idx="8065">
                  <c:v>27.834202292811085</c:v>
                </c:pt>
                <c:pt idx="8066">
                  <c:v>27.5</c:v>
                </c:pt>
                <c:pt idx="8067">
                  <c:v>27.740000000000002</c:v>
                </c:pt>
                <c:pt idx="8068">
                  <c:v>27.959999999999997</c:v>
                </c:pt>
                <c:pt idx="8069">
                  <c:v>28.009999999999998</c:v>
                </c:pt>
                <c:pt idx="8070">
                  <c:v>27.720000000000002</c:v>
                </c:pt>
                <c:pt idx="8071">
                  <c:v>28.349999999999998</c:v>
                </c:pt>
                <c:pt idx="8072">
                  <c:v>28.77</c:v>
                </c:pt>
                <c:pt idx="8073">
                  <c:v>29.250000000000004</c:v>
                </c:pt>
                <c:pt idx="8074">
                  <c:v>29.570000000000007</c:v>
                </c:pt>
                <c:pt idx="8075">
                  <c:v>29.720000000000002</c:v>
                </c:pt>
                <c:pt idx="8076">
                  <c:v>29.609999999999996</c:v>
                </c:pt>
                <c:pt idx="8077">
                  <c:v>29.719999999999995</c:v>
                </c:pt>
                <c:pt idx="8078">
                  <c:v>30.2</c:v>
                </c:pt>
                <c:pt idx="8079">
                  <c:v>30.919999999999998</c:v>
                </c:pt>
                <c:pt idx="8080">
                  <c:v>31.310000000000002</c:v>
                </c:pt>
                <c:pt idx="8081">
                  <c:v>31.050000000000004</c:v>
                </c:pt>
                <c:pt idx="8082">
                  <c:v>30.64</c:v>
                </c:pt>
                <c:pt idx="8083">
                  <c:v>30.219999999999995</c:v>
                </c:pt>
                <c:pt idx="8084">
                  <c:v>30.17</c:v>
                </c:pt>
                <c:pt idx="8085">
                  <c:v>29.42</c:v>
                </c:pt>
                <c:pt idx="8086">
                  <c:v>28.25</c:v>
                </c:pt>
                <c:pt idx="8087">
                  <c:v>12.05</c:v>
                </c:pt>
                <c:pt idx="8088">
                  <c:v>17.690000000000001</c:v>
                </c:pt>
                <c:pt idx="8089">
                  <c:v>15.310000000000004</c:v>
                </c:pt>
                <c:pt idx="8090">
                  <c:v>12.75</c:v>
                </c:pt>
                <c:pt idx="8091">
                  <c:v>17.18</c:v>
                </c:pt>
                <c:pt idx="8092">
                  <c:v>25.237144257822489</c:v>
                </c:pt>
                <c:pt idx="8093">
                  <c:v>33.015848426235273</c:v>
                </c:pt>
                <c:pt idx="8094">
                  <c:v>38.56</c:v>
                </c:pt>
                <c:pt idx="8095">
                  <c:v>41.88000000000001</c:v>
                </c:pt>
                <c:pt idx="8096">
                  <c:v>38.29</c:v>
                </c:pt>
                <c:pt idx="8097">
                  <c:v>37.06</c:v>
                </c:pt>
                <c:pt idx="8098">
                  <c:v>37.70776391776392</c:v>
                </c:pt>
                <c:pt idx="8099">
                  <c:v>36.36</c:v>
                </c:pt>
                <c:pt idx="8100">
                  <c:v>36.377680811715905</c:v>
                </c:pt>
                <c:pt idx="8101">
                  <c:v>36.061143797367372</c:v>
                </c:pt>
                <c:pt idx="8102">
                  <c:v>38.577704087020805</c:v>
                </c:pt>
                <c:pt idx="8103">
                  <c:v>46.186426036815256</c:v>
                </c:pt>
                <c:pt idx="8104">
                  <c:v>51.039999999999992</c:v>
                </c:pt>
                <c:pt idx="8105">
                  <c:v>46.116708943800568</c:v>
                </c:pt>
                <c:pt idx="8106">
                  <c:v>38.207298912592343</c:v>
                </c:pt>
                <c:pt idx="8107">
                  <c:v>34.888346456692915</c:v>
                </c:pt>
                <c:pt idx="8108">
                  <c:v>33.659999999999997</c:v>
                </c:pt>
                <c:pt idx="8109">
                  <c:v>32.49</c:v>
                </c:pt>
                <c:pt idx="8110">
                  <c:v>30.03</c:v>
                </c:pt>
                <c:pt idx="8111">
                  <c:v>20.924878864255952</c:v>
                </c:pt>
                <c:pt idx="8112">
                  <c:v>28.01</c:v>
                </c:pt>
                <c:pt idx="8113">
                  <c:v>26.88</c:v>
                </c:pt>
                <c:pt idx="8114">
                  <c:v>27.93</c:v>
                </c:pt>
                <c:pt idx="8115">
                  <c:v>28.23</c:v>
                </c:pt>
                <c:pt idx="8116">
                  <c:v>29.99</c:v>
                </c:pt>
                <c:pt idx="8117">
                  <c:v>31.730000000000004</c:v>
                </c:pt>
                <c:pt idx="8118">
                  <c:v>33.770000000000003</c:v>
                </c:pt>
                <c:pt idx="8119">
                  <c:v>33.880000000000003</c:v>
                </c:pt>
                <c:pt idx="8120">
                  <c:v>33.049999999999997</c:v>
                </c:pt>
                <c:pt idx="8121">
                  <c:v>32.43</c:v>
                </c:pt>
                <c:pt idx="8122">
                  <c:v>31.9</c:v>
                </c:pt>
                <c:pt idx="8123">
                  <c:v>31.570000000000004</c:v>
                </c:pt>
                <c:pt idx="8124">
                  <c:v>30.949999999999996</c:v>
                </c:pt>
                <c:pt idx="8125">
                  <c:v>30.91</c:v>
                </c:pt>
                <c:pt idx="8126">
                  <c:v>31.45</c:v>
                </c:pt>
                <c:pt idx="8127">
                  <c:v>31.960000000000004</c:v>
                </c:pt>
                <c:pt idx="8128">
                  <c:v>32.18</c:v>
                </c:pt>
                <c:pt idx="8129">
                  <c:v>31.8</c:v>
                </c:pt>
                <c:pt idx="8130">
                  <c:v>30.969999999999992</c:v>
                </c:pt>
                <c:pt idx="8131">
                  <c:v>29.979999999999997</c:v>
                </c:pt>
                <c:pt idx="8132">
                  <c:v>29.219999999999995</c:v>
                </c:pt>
                <c:pt idx="8133">
                  <c:v>28.06</c:v>
                </c:pt>
                <c:pt idx="8134">
                  <c:v>13.45</c:v>
                </c:pt>
                <c:pt idx="8135">
                  <c:v>14.340000000000002</c:v>
                </c:pt>
                <c:pt idx="8136">
                  <c:v>12.339999999999998</c:v>
                </c:pt>
                <c:pt idx="8137">
                  <c:v>9.7100000000000009</c:v>
                </c:pt>
                <c:pt idx="8138">
                  <c:v>12.699999999999998</c:v>
                </c:pt>
                <c:pt idx="8139">
                  <c:v>14.040000000000001</c:v>
                </c:pt>
                <c:pt idx="8140">
                  <c:v>13.27</c:v>
                </c:pt>
                <c:pt idx="8141">
                  <c:v>29.57</c:v>
                </c:pt>
                <c:pt idx="8142">
                  <c:v>32.479999999999997</c:v>
                </c:pt>
                <c:pt idx="8143">
                  <c:v>33.29999999999999</c:v>
                </c:pt>
                <c:pt idx="8144">
                  <c:v>32.840000000000011</c:v>
                </c:pt>
                <c:pt idx="8145">
                  <c:v>32.43</c:v>
                </c:pt>
                <c:pt idx="8146">
                  <c:v>32.649999999999991</c:v>
                </c:pt>
                <c:pt idx="8147">
                  <c:v>32.44</c:v>
                </c:pt>
                <c:pt idx="8148">
                  <c:v>32.22</c:v>
                </c:pt>
                <c:pt idx="8149">
                  <c:v>32.580000000000005</c:v>
                </c:pt>
                <c:pt idx="8150">
                  <c:v>33.03</c:v>
                </c:pt>
                <c:pt idx="8151">
                  <c:v>34.799999999999997</c:v>
                </c:pt>
                <c:pt idx="8152">
                  <c:v>35.359999999999992</c:v>
                </c:pt>
                <c:pt idx="8153">
                  <c:v>34.960000000000008</c:v>
                </c:pt>
                <c:pt idx="8154">
                  <c:v>33.489999999999995</c:v>
                </c:pt>
                <c:pt idx="8155">
                  <c:v>32.35</c:v>
                </c:pt>
                <c:pt idx="8156">
                  <c:v>31.749999999999996</c:v>
                </c:pt>
                <c:pt idx="8157">
                  <c:v>30</c:v>
                </c:pt>
                <c:pt idx="8158">
                  <c:v>27.95</c:v>
                </c:pt>
                <c:pt idx="8159">
                  <c:v>27.38</c:v>
                </c:pt>
                <c:pt idx="8160">
                  <c:v>26.819999999999997</c:v>
                </c:pt>
                <c:pt idx="8161">
                  <c:v>26.57</c:v>
                </c:pt>
                <c:pt idx="8162">
                  <c:v>26.51</c:v>
                </c:pt>
                <c:pt idx="8163">
                  <c:v>26.83</c:v>
                </c:pt>
                <c:pt idx="8164">
                  <c:v>27.460000000000004</c:v>
                </c:pt>
                <c:pt idx="8165">
                  <c:v>28.46</c:v>
                </c:pt>
                <c:pt idx="8166">
                  <c:v>30.2</c:v>
                </c:pt>
                <c:pt idx="8167">
                  <c:v>30.740000000000002</c:v>
                </c:pt>
                <c:pt idx="8168">
                  <c:v>30.119999999999997</c:v>
                </c:pt>
                <c:pt idx="8169">
                  <c:v>29.84</c:v>
                </c:pt>
                <c:pt idx="8170">
                  <c:v>29.44</c:v>
                </c:pt>
                <c:pt idx="8171">
                  <c:v>29.109999999999992</c:v>
                </c:pt>
                <c:pt idx="8172">
                  <c:v>29.02</c:v>
                </c:pt>
                <c:pt idx="8173">
                  <c:v>28.960000000000004</c:v>
                </c:pt>
                <c:pt idx="8174">
                  <c:v>29.05</c:v>
                </c:pt>
                <c:pt idx="8175">
                  <c:v>29.48</c:v>
                </c:pt>
                <c:pt idx="8176">
                  <c:v>29.700000000000003</c:v>
                </c:pt>
                <c:pt idx="8177">
                  <c:v>29.559999999999995</c:v>
                </c:pt>
                <c:pt idx="8178">
                  <c:v>28.81</c:v>
                </c:pt>
                <c:pt idx="8179">
                  <c:v>27.819999999999997</c:v>
                </c:pt>
                <c:pt idx="8180">
                  <c:v>27.499999999999996</c:v>
                </c:pt>
                <c:pt idx="8181">
                  <c:v>26.42</c:v>
                </c:pt>
                <c:pt idx="8182">
                  <c:v>22.61</c:v>
                </c:pt>
                <c:pt idx="8183">
                  <c:v>13.45</c:v>
                </c:pt>
                <c:pt idx="8184">
                  <c:v>12.2</c:v>
                </c:pt>
                <c:pt idx="8185">
                  <c:v>10.499999999999998</c:v>
                </c:pt>
                <c:pt idx="8186">
                  <c:v>18.930000000000003</c:v>
                </c:pt>
                <c:pt idx="8187">
                  <c:v>24.560000000000002</c:v>
                </c:pt>
                <c:pt idx="8188">
                  <c:v>23.05</c:v>
                </c:pt>
                <c:pt idx="8189">
                  <c:v>28.629999999999995</c:v>
                </c:pt>
                <c:pt idx="8190">
                  <c:v>30.34</c:v>
                </c:pt>
                <c:pt idx="8191">
                  <c:v>30.700000000000003</c:v>
                </c:pt>
                <c:pt idx="8192">
                  <c:v>30.15</c:v>
                </c:pt>
                <c:pt idx="8193">
                  <c:v>29.929999999999996</c:v>
                </c:pt>
                <c:pt idx="8194">
                  <c:v>29.72</c:v>
                </c:pt>
                <c:pt idx="8195">
                  <c:v>29.299999999999997</c:v>
                </c:pt>
                <c:pt idx="8196">
                  <c:v>29.09</c:v>
                </c:pt>
                <c:pt idx="8197">
                  <c:v>29.03</c:v>
                </c:pt>
                <c:pt idx="8198">
                  <c:v>29.22</c:v>
                </c:pt>
                <c:pt idx="8199">
                  <c:v>29.730000000000004</c:v>
                </c:pt>
                <c:pt idx="8200">
                  <c:v>29.82</c:v>
                </c:pt>
                <c:pt idx="8201">
                  <c:v>29.539999999999996</c:v>
                </c:pt>
                <c:pt idx="8202">
                  <c:v>28.88</c:v>
                </c:pt>
                <c:pt idx="8203">
                  <c:v>28.210000000000004</c:v>
                </c:pt>
                <c:pt idx="8204">
                  <c:v>27.81</c:v>
                </c:pt>
                <c:pt idx="8205">
                  <c:v>23.1</c:v>
                </c:pt>
                <c:pt idx="8206">
                  <c:v>9.2899999999999991</c:v>
                </c:pt>
                <c:pt idx="8207">
                  <c:v>15.030000000000001</c:v>
                </c:pt>
                <c:pt idx="8208">
                  <c:v>12.51</c:v>
                </c:pt>
                <c:pt idx="8209">
                  <c:v>10.309999999999999</c:v>
                </c:pt>
                <c:pt idx="8210">
                  <c:v>9.26</c:v>
                </c:pt>
                <c:pt idx="8211">
                  <c:v>9.1199999999999992</c:v>
                </c:pt>
                <c:pt idx="8212">
                  <c:v>8.92</c:v>
                </c:pt>
                <c:pt idx="8213">
                  <c:v>10.06</c:v>
                </c:pt>
                <c:pt idx="8214">
                  <c:v>12.15</c:v>
                </c:pt>
                <c:pt idx="8215">
                  <c:v>12.409999999999998</c:v>
                </c:pt>
                <c:pt idx="8216">
                  <c:v>18.069999999999997</c:v>
                </c:pt>
                <c:pt idx="8217">
                  <c:v>18.96</c:v>
                </c:pt>
                <c:pt idx="8218">
                  <c:v>16.25</c:v>
                </c:pt>
                <c:pt idx="8219">
                  <c:v>15.03</c:v>
                </c:pt>
                <c:pt idx="8220">
                  <c:v>12.39</c:v>
                </c:pt>
                <c:pt idx="8221">
                  <c:v>12.53</c:v>
                </c:pt>
                <c:pt idx="8222">
                  <c:v>19.41</c:v>
                </c:pt>
                <c:pt idx="8223">
                  <c:v>26.970847365908007</c:v>
                </c:pt>
                <c:pt idx="8224">
                  <c:v>31.191968694958625</c:v>
                </c:pt>
                <c:pt idx="8225">
                  <c:v>28.45</c:v>
                </c:pt>
                <c:pt idx="8226">
                  <c:v>27.789999999999996</c:v>
                </c:pt>
                <c:pt idx="8227">
                  <c:v>24.010000000000005</c:v>
                </c:pt>
                <c:pt idx="8228">
                  <c:v>20.76</c:v>
                </c:pt>
                <c:pt idx="8229">
                  <c:v>15.039999999999997</c:v>
                </c:pt>
                <c:pt idx="8230">
                  <c:v>10.16</c:v>
                </c:pt>
                <c:pt idx="8231">
                  <c:v>14.31</c:v>
                </c:pt>
                <c:pt idx="8232">
                  <c:v>10.92</c:v>
                </c:pt>
                <c:pt idx="8233">
                  <c:v>10.17</c:v>
                </c:pt>
                <c:pt idx="8234">
                  <c:v>12.09</c:v>
                </c:pt>
                <c:pt idx="8235">
                  <c:v>15.060000000000002</c:v>
                </c:pt>
                <c:pt idx="8236">
                  <c:v>19.920000000000002</c:v>
                </c:pt>
                <c:pt idx="8237">
                  <c:v>27.39</c:v>
                </c:pt>
                <c:pt idx="8238">
                  <c:v>27.43</c:v>
                </c:pt>
                <c:pt idx="8239">
                  <c:v>27.850000000000005</c:v>
                </c:pt>
                <c:pt idx="8240">
                  <c:v>28.560000000000002</c:v>
                </c:pt>
                <c:pt idx="8241">
                  <c:v>29.15</c:v>
                </c:pt>
                <c:pt idx="8242">
                  <c:v>29.569999999999997</c:v>
                </c:pt>
                <c:pt idx="8243">
                  <c:v>29.26</c:v>
                </c:pt>
                <c:pt idx="8244">
                  <c:v>28.94</c:v>
                </c:pt>
                <c:pt idx="8245">
                  <c:v>28.94</c:v>
                </c:pt>
                <c:pt idx="8246">
                  <c:v>29.44</c:v>
                </c:pt>
                <c:pt idx="8247">
                  <c:v>30.269999999999996</c:v>
                </c:pt>
                <c:pt idx="8248">
                  <c:v>29.960000000000004</c:v>
                </c:pt>
                <c:pt idx="8249">
                  <c:v>29.46</c:v>
                </c:pt>
                <c:pt idx="8250">
                  <c:v>29.270000000000003</c:v>
                </c:pt>
                <c:pt idx="8251">
                  <c:v>28.71</c:v>
                </c:pt>
                <c:pt idx="8252">
                  <c:v>28.43</c:v>
                </c:pt>
                <c:pt idx="8253">
                  <c:v>27.93</c:v>
                </c:pt>
                <c:pt idx="8254">
                  <c:v>27.519999999999996</c:v>
                </c:pt>
                <c:pt idx="8255">
                  <c:v>27.25</c:v>
                </c:pt>
                <c:pt idx="8256">
                  <c:v>26.940000000000005</c:v>
                </c:pt>
                <c:pt idx="8257">
                  <c:v>26.81</c:v>
                </c:pt>
                <c:pt idx="8258">
                  <c:v>18.899999999999999</c:v>
                </c:pt>
                <c:pt idx="8259">
                  <c:v>12.779999999999998</c:v>
                </c:pt>
                <c:pt idx="8260">
                  <c:v>25.878910266519473</c:v>
                </c:pt>
                <c:pt idx="8261">
                  <c:v>45.371492591915128</c:v>
                </c:pt>
                <c:pt idx="8262">
                  <c:v>62</c:v>
                </c:pt>
                <c:pt idx="8263">
                  <c:v>61.490000000000009</c:v>
                </c:pt>
                <c:pt idx="8264">
                  <c:v>56.659999999999989</c:v>
                </c:pt>
                <c:pt idx="8265">
                  <c:v>52.430000000000007</c:v>
                </c:pt>
                <c:pt idx="8266">
                  <c:v>52.45</c:v>
                </c:pt>
                <c:pt idx="8267">
                  <c:v>50.819999999999993</c:v>
                </c:pt>
                <c:pt idx="8268">
                  <c:v>51.100000000000009</c:v>
                </c:pt>
                <c:pt idx="8269">
                  <c:v>52.540000000000006</c:v>
                </c:pt>
                <c:pt idx="8270">
                  <c:v>51.910000000000004</c:v>
                </c:pt>
                <c:pt idx="8271">
                  <c:v>53.379999999999995</c:v>
                </c:pt>
                <c:pt idx="8272">
                  <c:v>50.780439113004256</c:v>
                </c:pt>
                <c:pt idx="8273">
                  <c:v>42.507950492264413</c:v>
                </c:pt>
                <c:pt idx="8274">
                  <c:v>37.310702953629544</c:v>
                </c:pt>
                <c:pt idx="8275">
                  <c:v>33.859485559066464</c:v>
                </c:pt>
                <c:pt idx="8276">
                  <c:v>32.67</c:v>
                </c:pt>
                <c:pt idx="8277">
                  <c:v>31.09</c:v>
                </c:pt>
                <c:pt idx="8278">
                  <c:v>27.386180973837877</c:v>
                </c:pt>
                <c:pt idx="8279">
                  <c:v>24.607967902649794</c:v>
                </c:pt>
                <c:pt idx="8280">
                  <c:v>22.284659982563209</c:v>
                </c:pt>
                <c:pt idx="8281">
                  <c:v>19.883111613119144</c:v>
                </c:pt>
                <c:pt idx="8282">
                  <c:v>27.03</c:v>
                </c:pt>
                <c:pt idx="8283">
                  <c:v>27.38</c:v>
                </c:pt>
                <c:pt idx="8284">
                  <c:v>26.189154773166617</c:v>
                </c:pt>
                <c:pt idx="8285">
                  <c:v>30.861089311609661</c:v>
                </c:pt>
                <c:pt idx="8286">
                  <c:v>32.32</c:v>
                </c:pt>
                <c:pt idx="8287">
                  <c:v>35.19</c:v>
                </c:pt>
                <c:pt idx="8288">
                  <c:v>34.699999999999996</c:v>
                </c:pt>
                <c:pt idx="8289">
                  <c:v>34.75</c:v>
                </c:pt>
                <c:pt idx="8290">
                  <c:v>35.22</c:v>
                </c:pt>
                <c:pt idx="8291">
                  <c:v>35.876323458767004</c:v>
                </c:pt>
                <c:pt idx="8292">
                  <c:v>36.52530007567379</c:v>
                </c:pt>
                <c:pt idx="8293">
                  <c:v>38.090000000000003</c:v>
                </c:pt>
                <c:pt idx="8294">
                  <c:v>39.47</c:v>
                </c:pt>
                <c:pt idx="8295">
                  <c:v>46.09</c:v>
                </c:pt>
                <c:pt idx="8296">
                  <c:v>50.95</c:v>
                </c:pt>
                <c:pt idx="8297">
                  <c:v>46.95</c:v>
                </c:pt>
                <c:pt idx="8298">
                  <c:v>46.079999999999991</c:v>
                </c:pt>
                <c:pt idx="8299">
                  <c:v>41.719999999999992</c:v>
                </c:pt>
                <c:pt idx="8300">
                  <c:v>31.510000000000005</c:v>
                </c:pt>
                <c:pt idx="8301">
                  <c:v>29.789999999999996</c:v>
                </c:pt>
                <c:pt idx="8302">
                  <c:v>27.96</c:v>
                </c:pt>
                <c:pt idx="8303">
                  <c:v>11.071586875838193</c:v>
                </c:pt>
                <c:pt idx="8304">
                  <c:v>12.555336878884388</c:v>
                </c:pt>
                <c:pt idx="8305">
                  <c:v>10.3597261152625</c:v>
                </c:pt>
                <c:pt idx="8306">
                  <c:v>8.6846842886842897</c:v>
                </c:pt>
                <c:pt idx="8307">
                  <c:v>11.806175305765869</c:v>
                </c:pt>
                <c:pt idx="8308">
                  <c:v>18.944838373908514</c:v>
                </c:pt>
                <c:pt idx="8309">
                  <c:v>29.46</c:v>
                </c:pt>
                <c:pt idx="8310">
                  <c:v>31.040000000000003</c:v>
                </c:pt>
                <c:pt idx="8311">
                  <c:v>31.730000000000004</c:v>
                </c:pt>
                <c:pt idx="8312">
                  <c:v>31.080000000000002</c:v>
                </c:pt>
                <c:pt idx="8313">
                  <c:v>30.539999999999996</c:v>
                </c:pt>
                <c:pt idx="8314">
                  <c:v>29.829999999999995</c:v>
                </c:pt>
                <c:pt idx="8315">
                  <c:v>29.7</c:v>
                </c:pt>
                <c:pt idx="8316">
                  <c:v>29.98</c:v>
                </c:pt>
                <c:pt idx="8317">
                  <c:v>30.29</c:v>
                </c:pt>
                <c:pt idx="8318">
                  <c:v>31.07</c:v>
                </c:pt>
                <c:pt idx="8319">
                  <c:v>31.77</c:v>
                </c:pt>
                <c:pt idx="8320">
                  <c:v>32.06</c:v>
                </c:pt>
                <c:pt idx="8321">
                  <c:v>33.939999999999991</c:v>
                </c:pt>
                <c:pt idx="8322">
                  <c:v>32.75</c:v>
                </c:pt>
                <c:pt idx="8323">
                  <c:v>29.100000000000009</c:v>
                </c:pt>
                <c:pt idx="8324">
                  <c:v>23.16</c:v>
                </c:pt>
                <c:pt idx="8325">
                  <c:v>20.049999999999997</c:v>
                </c:pt>
                <c:pt idx="8326">
                  <c:v>8.4499999999999993</c:v>
                </c:pt>
                <c:pt idx="8327">
                  <c:v>8.8399999999999981</c:v>
                </c:pt>
                <c:pt idx="8328">
                  <c:v>8.8000000000000007</c:v>
                </c:pt>
                <c:pt idx="8329">
                  <c:v>8.84</c:v>
                </c:pt>
                <c:pt idx="8330">
                  <c:v>9.009999999999998</c:v>
                </c:pt>
                <c:pt idx="8331">
                  <c:v>10.79</c:v>
                </c:pt>
                <c:pt idx="8332">
                  <c:v>15.519640429237597</c:v>
                </c:pt>
                <c:pt idx="8333">
                  <c:v>31.65828717017305</c:v>
                </c:pt>
                <c:pt idx="8334">
                  <c:v>41.66</c:v>
                </c:pt>
                <c:pt idx="8335">
                  <c:v>35.870000000000005</c:v>
                </c:pt>
                <c:pt idx="8336">
                  <c:v>33.030000000000008</c:v>
                </c:pt>
                <c:pt idx="8337">
                  <c:v>32.06</c:v>
                </c:pt>
                <c:pt idx="8338">
                  <c:v>31.82</c:v>
                </c:pt>
                <c:pt idx="8339">
                  <c:v>31.539999999999996</c:v>
                </c:pt>
                <c:pt idx="8340">
                  <c:v>31.460000000000004</c:v>
                </c:pt>
                <c:pt idx="8341">
                  <c:v>31.749999999999996</c:v>
                </c:pt>
                <c:pt idx="8342">
                  <c:v>32.47</c:v>
                </c:pt>
                <c:pt idx="8343">
                  <c:v>33.21</c:v>
                </c:pt>
                <c:pt idx="8344">
                  <c:v>34.19</c:v>
                </c:pt>
                <c:pt idx="8345">
                  <c:v>32.33</c:v>
                </c:pt>
                <c:pt idx="8346">
                  <c:v>31.580000000000002</c:v>
                </c:pt>
                <c:pt idx="8347">
                  <c:v>30.439999999999994</c:v>
                </c:pt>
                <c:pt idx="8348">
                  <c:v>30.07</c:v>
                </c:pt>
                <c:pt idx="8349">
                  <c:v>29.42</c:v>
                </c:pt>
                <c:pt idx="8350">
                  <c:v>28.260000000000005</c:v>
                </c:pt>
                <c:pt idx="8351">
                  <c:v>28.660000000000004</c:v>
                </c:pt>
                <c:pt idx="8352">
                  <c:v>28.41</c:v>
                </c:pt>
                <c:pt idx="8353">
                  <c:v>28.25</c:v>
                </c:pt>
                <c:pt idx="8354">
                  <c:v>28.28</c:v>
                </c:pt>
                <c:pt idx="8355">
                  <c:v>28.89</c:v>
                </c:pt>
                <c:pt idx="8356">
                  <c:v>30.240000000000002</c:v>
                </c:pt>
                <c:pt idx="8357">
                  <c:v>36.03</c:v>
                </c:pt>
                <c:pt idx="8358">
                  <c:v>51.64</c:v>
                </c:pt>
                <c:pt idx="8359">
                  <c:v>53.01</c:v>
                </c:pt>
                <c:pt idx="8360">
                  <c:v>52.629999999999995</c:v>
                </c:pt>
                <c:pt idx="8361">
                  <c:v>48.419999999999995</c:v>
                </c:pt>
                <c:pt idx="8362">
                  <c:v>45.06</c:v>
                </c:pt>
                <c:pt idx="8363">
                  <c:v>47.06</c:v>
                </c:pt>
                <c:pt idx="8364">
                  <c:v>46.77</c:v>
                </c:pt>
                <c:pt idx="8365">
                  <c:v>46.989999999999995</c:v>
                </c:pt>
                <c:pt idx="8366">
                  <c:v>43.905640449438195</c:v>
                </c:pt>
                <c:pt idx="8367">
                  <c:v>49.350492742551559</c:v>
                </c:pt>
                <c:pt idx="8368">
                  <c:v>47.892085100160841</c:v>
                </c:pt>
                <c:pt idx="8369">
                  <c:v>39.455778733866019</c:v>
                </c:pt>
                <c:pt idx="8370">
                  <c:v>35.685775599864819</c:v>
                </c:pt>
                <c:pt idx="8371">
                  <c:v>31.209999999999994</c:v>
                </c:pt>
                <c:pt idx="8372">
                  <c:v>30.540000000000003</c:v>
                </c:pt>
                <c:pt idx="8373">
                  <c:v>29.760000000000005</c:v>
                </c:pt>
                <c:pt idx="8374">
                  <c:v>29.040000000000003</c:v>
                </c:pt>
                <c:pt idx="8375">
                  <c:v>29.94</c:v>
                </c:pt>
                <c:pt idx="8376">
                  <c:v>29.08</c:v>
                </c:pt>
                <c:pt idx="8377">
                  <c:v>28.969999999999995</c:v>
                </c:pt>
                <c:pt idx="8378">
                  <c:v>28.899999999999995</c:v>
                </c:pt>
                <c:pt idx="8379">
                  <c:v>29</c:v>
                </c:pt>
                <c:pt idx="8380">
                  <c:v>29.28</c:v>
                </c:pt>
                <c:pt idx="8381">
                  <c:v>30.199999999999996</c:v>
                </c:pt>
                <c:pt idx="8382">
                  <c:v>30.630000000000003</c:v>
                </c:pt>
                <c:pt idx="8383">
                  <c:v>30.71</c:v>
                </c:pt>
                <c:pt idx="8384">
                  <c:v>31.15</c:v>
                </c:pt>
                <c:pt idx="8385">
                  <c:v>31.749999999999996</c:v>
                </c:pt>
                <c:pt idx="8386">
                  <c:v>32.1</c:v>
                </c:pt>
                <c:pt idx="8387">
                  <c:v>31.56</c:v>
                </c:pt>
                <c:pt idx="8388">
                  <c:v>31.29</c:v>
                </c:pt>
                <c:pt idx="8389">
                  <c:v>31.490000000000002</c:v>
                </c:pt>
                <c:pt idx="8390">
                  <c:v>33.09957456668829</c:v>
                </c:pt>
                <c:pt idx="8391">
                  <c:v>35.66106165198763</c:v>
                </c:pt>
                <c:pt idx="8392">
                  <c:v>38.062506763491385</c:v>
                </c:pt>
                <c:pt idx="8393">
                  <c:v>35.44350182243312</c:v>
                </c:pt>
                <c:pt idx="8394">
                  <c:v>32.853111111111112</c:v>
                </c:pt>
                <c:pt idx="8395">
                  <c:v>30.7</c:v>
                </c:pt>
                <c:pt idx="8396">
                  <c:v>30.55</c:v>
                </c:pt>
                <c:pt idx="8397">
                  <c:v>30.089999999999996</c:v>
                </c:pt>
                <c:pt idx="8398">
                  <c:v>29.020000000000003</c:v>
                </c:pt>
                <c:pt idx="8399">
                  <c:v>28.9</c:v>
                </c:pt>
                <c:pt idx="8400">
                  <c:v>28.199999999999996</c:v>
                </c:pt>
                <c:pt idx="8401">
                  <c:v>28.200000000000003</c:v>
                </c:pt>
                <c:pt idx="8402">
                  <c:v>27.94</c:v>
                </c:pt>
                <c:pt idx="8403">
                  <c:v>28.210000000000004</c:v>
                </c:pt>
                <c:pt idx="8404">
                  <c:v>28.380000000000003</c:v>
                </c:pt>
                <c:pt idx="8405">
                  <c:v>28.579999999999995</c:v>
                </c:pt>
                <c:pt idx="8406">
                  <c:v>29.399999999999991</c:v>
                </c:pt>
                <c:pt idx="8407">
                  <c:v>31.38</c:v>
                </c:pt>
                <c:pt idx="8408">
                  <c:v>34.779999999999994</c:v>
                </c:pt>
                <c:pt idx="8409">
                  <c:v>38.11999999999999</c:v>
                </c:pt>
                <c:pt idx="8410">
                  <c:v>42.430000000000007</c:v>
                </c:pt>
                <c:pt idx="8411">
                  <c:v>41.570000000000007</c:v>
                </c:pt>
                <c:pt idx="8412">
                  <c:v>39.06</c:v>
                </c:pt>
                <c:pt idx="8413">
                  <c:v>31.699877800407336</c:v>
                </c:pt>
                <c:pt idx="8414">
                  <c:v>32.289331963001025</c:v>
                </c:pt>
                <c:pt idx="8415">
                  <c:v>33.370786975604773</c:v>
                </c:pt>
                <c:pt idx="8416">
                  <c:v>33.540365510777882</c:v>
                </c:pt>
                <c:pt idx="8417">
                  <c:v>32.676130878499521</c:v>
                </c:pt>
                <c:pt idx="8418">
                  <c:v>31.887713698464513</c:v>
                </c:pt>
                <c:pt idx="8419">
                  <c:v>30.923445966988478</c:v>
                </c:pt>
                <c:pt idx="8420">
                  <c:v>30.24</c:v>
                </c:pt>
                <c:pt idx="8421">
                  <c:v>29.680000000000003</c:v>
                </c:pt>
                <c:pt idx="8422">
                  <c:v>28.589999999999996</c:v>
                </c:pt>
                <c:pt idx="8423">
                  <c:v>28.22</c:v>
                </c:pt>
                <c:pt idx="8424">
                  <c:v>27.9</c:v>
                </c:pt>
                <c:pt idx="8425">
                  <c:v>27.550000000000004</c:v>
                </c:pt>
                <c:pt idx="8426">
                  <c:v>27.39</c:v>
                </c:pt>
                <c:pt idx="8427">
                  <c:v>28.039999999999996</c:v>
                </c:pt>
                <c:pt idx="8428">
                  <c:v>28.710923764589026</c:v>
                </c:pt>
                <c:pt idx="8429">
                  <c:v>34.015576935925701</c:v>
                </c:pt>
                <c:pt idx="8430">
                  <c:v>40.973499999999994</c:v>
                </c:pt>
                <c:pt idx="8431">
                  <c:v>47.838645004275463</c:v>
                </c:pt>
                <c:pt idx="8432">
                  <c:v>48.70832268778743</c:v>
                </c:pt>
                <c:pt idx="8433">
                  <c:v>38.46293277965222</c:v>
                </c:pt>
                <c:pt idx="8434">
                  <c:v>37.452275468105363</c:v>
                </c:pt>
                <c:pt idx="8435">
                  <c:v>39.667000000000002</c:v>
                </c:pt>
                <c:pt idx="8436">
                  <c:v>39.257501101418626</c:v>
                </c:pt>
                <c:pt idx="8437">
                  <c:v>43.038816084120342</c:v>
                </c:pt>
                <c:pt idx="8438">
                  <c:v>63.930000000000007</c:v>
                </c:pt>
                <c:pt idx="8439">
                  <c:v>71.739999999999995</c:v>
                </c:pt>
                <c:pt idx="8440">
                  <c:v>77.283283171224085</c:v>
                </c:pt>
                <c:pt idx="8441">
                  <c:v>66.62</c:v>
                </c:pt>
                <c:pt idx="8442">
                  <c:v>43.362998379254456</c:v>
                </c:pt>
                <c:pt idx="8443">
                  <c:v>36.110349113991013</c:v>
                </c:pt>
                <c:pt idx="8444">
                  <c:v>35.090000000000003</c:v>
                </c:pt>
                <c:pt idx="8445">
                  <c:v>33.31</c:v>
                </c:pt>
                <c:pt idx="8446">
                  <c:v>34.049999999999997</c:v>
                </c:pt>
                <c:pt idx="8447">
                  <c:v>30.440000000000005</c:v>
                </c:pt>
                <c:pt idx="8448">
                  <c:v>29.429999999999996</c:v>
                </c:pt>
                <c:pt idx="8449">
                  <c:v>29.350000000000009</c:v>
                </c:pt>
                <c:pt idx="8450">
                  <c:v>29.679999999999996</c:v>
                </c:pt>
                <c:pt idx="8451">
                  <c:v>31.570000000000004</c:v>
                </c:pt>
                <c:pt idx="8452">
                  <c:v>32.640000000000008</c:v>
                </c:pt>
                <c:pt idx="8453">
                  <c:v>40.466268586263865</c:v>
                </c:pt>
                <c:pt idx="8454">
                  <c:v>66.530000000000015</c:v>
                </c:pt>
                <c:pt idx="8455">
                  <c:v>75.06</c:v>
                </c:pt>
                <c:pt idx="8456">
                  <c:v>75.209999999999994</c:v>
                </c:pt>
                <c:pt idx="8457">
                  <c:v>66.47</c:v>
                </c:pt>
                <c:pt idx="8458">
                  <c:v>60.5</c:v>
                </c:pt>
                <c:pt idx="8459">
                  <c:v>59.738903999999998</c:v>
                </c:pt>
                <c:pt idx="8460">
                  <c:v>59.695728155339808</c:v>
                </c:pt>
                <c:pt idx="8461">
                  <c:v>57.877651006711403</c:v>
                </c:pt>
                <c:pt idx="8462">
                  <c:v>64.266931818181817</c:v>
                </c:pt>
                <c:pt idx="8463">
                  <c:v>66.831367781155024</c:v>
                </c:pt>
                <c:pt idx="8464">
                  <c:v>78.28</c:v>
                </c:pt>
                <c:pt idx="8465">
                  <c:v>75.159999999999982</c:v>
                </c:pt>
                <c:pt idx="8466">
                  <c:v>66.611767574156858</c:v>
                </c:pt>
                <c:pt idx="8467">
                  <c:v>63.68</c:v>
                </c:pt>
                <c:pt idx="8468">
                  <c:v>37.433185878349633</c:v>
                </c:pt>
                <c:pt idx="8469">
                  <c:v>37.310000000000009</c:v>
                </c:pt>
                <c:pt idx="8470">
                  <c:v>34.700000000000003</c:v>
                </c:pt>
                <c:pt idx="8471">
                  <c:v>29.18</c:v>
                </c:pt>
                <c:pt idx="8472">
                  <c:v>28.530000000000005</c:v>
                </c:pt>
                <c:pt idx="8473">
                  <c:v>28.079999999999995</c:v>
                </c:pt>
                <c:pt idx="8474">
                  <c:v>28.109999999999996</c:v>
                </c:pt>
                <c:pt idx="8475">
                  <c:v>28.870000000000005</c:v>
                </c:pt>
                <c:pt idx="8476">
                  <c:v>29.72</c:v>
                </c:pt>
                <c:pt idx="8477">
                  <c:v>44.29999999999999</c:v>
                </c:pt>
                <c:pt idx="8478">
                  <c:v>66.699999999999989</c:v>
                </c:pt>
                <c:pt idx="8479">
                  <c:v>65.44</c:v>
                </c:pt>
                <c:pt idx="8480">
                  <c:v>63.94</c:v>
                </c:pt>
                <c:pt idx="8481">
                  <c:v>66.670000000000016</c:v>
                </c:pt>
                <c:pt idx="8482">
                  <c:v>65.600000000000009</c:v>
                </c:pt>
                <c:pt idx="8483">
                  <c:v>44.588262485481991</c:v>
                </c:pt>
                <c:pt idx="8484">
                  <c:v>59.82</c:v>
                </c:pt>
                <c:pt idx="8485">
                  <c:v>43.361840629921254</c:v>
                </c:pt>
                <c:pt idx="8486">
                  <c:v>40.902639643769241</c:v>
                </c:pt>
                <c:pt idx="8487">
                  <c:v>41.73826210623622</c:v>
                </c:pt>
                <c:pt idx="8488">
                  <c:v>59.789999999999992</c:v>
                </c:pt>
                <c:pt idx="8489">
                  <c:v>38.27565117801047</c:v>
                </c:pt>
                <c:pt idx="8490">
                  <c:v>36.100980831745325</c:v>
                </c:pt>
                <c:pt idx="8491">
                  <c:v>35.509999999999991</c:v>
                </c:pt>
                <c:pt idx="8492">
                  <c:v>30.05</c:v>
                </c:pt>
                <c:pt idx="8493">
                  <c:v>29.040000000000003</c:v>
                </c:pt>
                <c:pt idx="8494">
                  <c:v>28</c:v>
                </c:pt>
                <c:pt idx="8495">
                  <c:v>27.57</c:v>
                </c:pt>
                <c:pt idx="8496">
                  <c:v>27.080000000000002</c:v>
                </c:pt>
                <c:pt idx="8497">
                  <c:v>26.979999999999997</c:v>
                </c:pt>
                <c:pt idx="8498">
                  <c:v>26.95</c:v>
                </c:pt>
                <c:pt idx="8499">
                  <c:v>27.37</c:v>
                </c:pt>
                <c:pt idx="8500">
                  <c:v>28</c:v>
                </c:pt>
                <c:pt idx="8501">
                  <c:v>29.419999999999998</c:v>
                </c:pt>
                <c:pt idx="8502">
                  <c:v>37.15883985635157</c:v>
                </c:pt>
                <c:pt idx="8503">
                  <c:v>37.093085320909537</c:v>
                </c:pt>
                <c:pt idx="8504">
                  <c:v>41.348390859481583</c:v>
                </c:pt>
                <c:pt idx="8505">
                  <c:v>43.62</c:v>
                </c:pt>
                <c:pt idx="8506">
                  <c:v>36.169999999999995</c:v>
                </c:pt>
                <c:pt idx="8507">
                  <c:v>33.26</c:v>
                </c:pt>
                <c:pt idx="8508">
                  <c:v>30.63</c:v>
                </c:pt>
                <c:pt idx="8509">
                  <c:v>36.745465100207326</c:v>
                </c:pt>
                <c:pt idx="8510">
                  <c:v>37.207324846815183</c:v>
                </c:pt>
                <c:pt idx="8511">
                  <c:v>37.660730214254478</c:v>
                </c:pt>
                <c:pt idx="8512">
                  <c:v>39.545894656049121</c:v>
                </c:pt>
                <c:pt idx="8513">
                  <c:v>37.892535752185559</c:v>
                </c:pt>
                <c:pt idx="8514">
                  <c:v>30.06</c:v>
                </c:pt>
                <c:pt idx="8515">
                  <c:v>29.55</c:v>
                </c:pt>
                <c:pt idx="8516">
                  <c:v>29.17</c:v>
                </c:pt>
                <c:pt idx="8517">
                  <c:v>28.06</c:v>
                </c:pt>
                <c:pt idx="8518">
                  <c:v>27.32</c:v>
                </c:pt>
                <c:pt idx="8519">
                  <c:v>27.1</c:v>
                </c:pt>
                <c:pt idx="8520">
                  <c:v>26.45</c:v>
                </c:pt>
                <c:pt idx="8521">
                  <c:v>26.2</c:v>
                </c:pt>
                <c:pt idx="8522">
                  <c:v>26.36</c:v>
                </c:pt>
                <c:pt idx="8523">
                  <c:v>26.92</c:v>
                </c:pt>
                <c:pt idx="8524">
                  <c:v>27.54</c:v>
                </c:pt>
                <c:pt idx="8525">
                  <c:v>28.75</c:v>
                </c:pt>
                <c:pt idx="8526">
                  <c:v>30.06</c:v>
                </c:pt>
                <c:pt idx="8527">
                  <c:v>30.81</c:v>
                </c:pt>
                <c:pt idx="8528">
                  <c:v>30.69</c:v>
                </c:pt>
                <c:pt idx="8529">
                  <c:v>30.630000000000006</c:v>
                </c:pt>
                <c:pt idx="8530">
                  <c:v>30.3</c:v>
                </c:pt>
                <c:pt idx="8531">
                  <c:v>29.850000000000005</c:v>
                </c:pt>
                <c:pt idx="8532">
                  <c:v>29.650000000000006</c:v>
                </c:pt>
                <c:pt idx="8533">
                  <c:v>29.69</c:v>
                </c:pt>
                <c:pt idx="8534">
                  <c:v>29.870000000000005</c:v>
                </c:pt>
                <c:pt idx="8535">
                  <c:v>30.32</c:v>
                </c:pt>
                <c:pt idx="8536">
                  <c:v>30.789999999999996</c:v>
                </c:pt>
                <c:pt idx="8537">
                  <c:v>30.44</c:v>
                </c:pt>
                <c:pt idx="8538">
                  <c:v>29.81</c:v>
                </c:pt>
                <c:pt idx="8539">
                  <c:v>29.06</c:v>
                </c:pt>
                <c:pt idx="8540">
                  <c:v>28.86</c:v>
                </c:pt>
                <c:pt idx="8541">
                  <c:v>27.870000000000005</c:v>
                </c:pt>
                <c:pt idx="8542">
                  <c:v>26.97</c:v>
                </c:pt>
                <c:pt idx="8543">
                  <c:v>4.9286801900115549</c:v>
                </c:pt>
                <c:pt idx="8544">
                  <c:v>13.387781065088756</c:v>
                </c:pt>
                <c:pt idx="8545">
                  <c:v>11.8</c:v>
                </c:pt>
                <c:pt idx="8546">
                  <c:v>11.3</c:v>
                </c:pt>
                <c:pt idx="8547">
                  <c:v>12.4</c:v>
                </c:pt>
                <c:pt idx="8548">
                  <c:v>8.4000000000000021</c:v>
                </c:pt>
                <c:pt idx="8549">
                  <c:v>9.7100000000000026</c:v>
                </c:pt>
                <c:pt idx="8550">
                  <c:v>10.710000000000003</c:v>
                </c:pt>
                <c:pt idx="8551">
                  <c:v>14.779999999999998</c:v>
                </c:pt>
                <c:pt idx="8552">
                  <c:v>18.790000000000003</c:v>
                </c:pt>
                <c:pt idx="8553">
                  <c:v>20.080000000000002</c:v>
                </c:pt>
                <c:pt idx="8554">
                  <c:v>14.74</c:v>
                </c:pt>
                <c:pt idx="8555">
                  <c:v>14.77</c:v>
                </c:pt>
                <c:pt idx="8556">
                  <c:v>10.87</c:v>
                </c:pt>
                <c:pt idx="8557">
                  <c:v>5.65</c:v>
                </c:pt>
                <c:pt idx="8558">
                  <c:v>10.039999999999999</c:v>
                </c:pt>
                <c:pt idx="8559">
                  <c:v>12.909999999999998</c:v>
                </c:pt>
                <c:pt idx="8560">
                  <c:v>22.01</c:v>
                </c:pt>
                <c:pt idx="8561">
                  <c:v>18.079999999999998</c:v>
                </c:pt>
                <c:pt idx="8562">
                  <c:v>10.84</c:v>
                </c:pt>
                <c:pt idx="8563">
                  <c:v>0.39999999999999997</c:v>
                </c:pt>
                <c:pt idx="8564">
                  <c:v>-0.03</c:v>
                </c:pt>
                <c:pt idx="8565">
                  <c:v>-0.09</c:v>
                </c:pt>
                <c:pt idx="8566">
                  <c:v>-12.120000000000001</c:v>
                </c:pt>
                <c:pt idx="8567">
                  <c:v>-40.840000000000011</c:v>
                </c:pt>
                <c:pt idx="8568">
                  <c:v>-43.18</c:v>
                </c:pt>
                <c:pt idx="8569">
                  <c:v>-50.04</c:v>
                </c:pt>
                <c:pt idx="8570">
                  <c:v>-42.31</c:v>
                </c:pt>
                <c:pt idx="8571">
                  <c:v>-40.089999999999996</c:v>
                </c:pt>
                <c:pt idx="8572">
                  <c:v>-16.050000000000004</c:v>
                </c:pt>
                <c:pt idx="8573">
                  <c:v>-12.16</c:v>
                </c:pt>
                <c:pt idx="8574">
                  <c:v>-6.7800000000000011</c:v>
                </c:pt>
                <c:pt idx="8575">
                  <c:v>2.13</c:v>
                </c:pt>
                <c:pt idx="8576">
                  <c:v>6.77</c:v>
                </c:pt>
                <c:pt idx="8577">
                  <c:v>14.79</c:v>
                </c:pt>
                <c:pt idx="8578">
                  <c:v>8.1999999999999993</c:v>
                </c:pt>
                <c:pt idx="8579">
                  <c:v>2.1700000000000004</c:v>
                </c:pt>
                <c:pt idx="8580">
                  <c:v>2.93</c:v>
                </c:pt>
                <c:pt idx="8581">
                  <c:v>0.10000000000000002</c:v>
                </c:pt>
                <c:pt idx="8582">
                  <c:v>1.0900000000000001</c:v>
                </c:pt>
                <c:pt idx="8583">
                  <c:v>11.005221593438037</c:v>
                </c:pt>
                <c:pt idx="8584">
                  <c:v>14.348407226354944</c:v>
                </c:pt>
                <c:pt idx="8585">
                  <c:v>7.7007971914201319</c:v>
                </c:pt>
                <c:pt idx="8586">
                  <c:v>1.8</c:v>
                </c:pt>
                <c:pt idx="8587">
                  <c:v>-4.9400000000000004</c:v>
                </c:pt>
                <c:pt idx="8588">
                  <c:v>-6.74</c:v>
                </c:pt>
                <c:pt idx="8589">
                  <c:v>0.08</c:v>
                </c:pt>
                <c:pt idx="8590">
                  <c:v>0.06</c:v>
                </c:pt>
                <c:pt idx="8591">
                  <c:v>-0.68</c:v>
                </c:pt>
                <c:pt idx="8592">
                  <c:v>-9.6600000000000019</c:v>
                </c:pt>
                <c:pt idx="8593">
                  <c:v>-4.07</c:v>
                </c:pt>
                <c:pt idx="8594">
                  <c:v>-11.899999999999999</c:v>
                </c:pt>
                <c:pt idx="8595">
                  <c:v>-4.96</c:v>
                </c:pt>
                <c:pt idx="8596">
                  <c:v>-4.83</c:v>
                </c:pt>
                <c:pt idx="8597">
                  <c:v>-15.019999999999998</c:v>
                </c:pt>
                <c:pt idx="8598">
                  <c:v>-4.97</c:v>
                </c:pt>
                <c:pt idx="8599">
                  <c:v>7.0000000000000007E-2</c:v>
                </c:pt>
                <c:pt idx="8600">
                  <c:v>9.94</c:v>
                </c:pt>
                <c:pt idx="8601">
                  <c:v>19.899999999999999</c:v>
                </c:pt>
                <c:pt idx="8602">
                  <c:v>22.010000000000005</c:v>
                </c:pt>
                <c:pt idx="8603">
                  <c:v>18.349999999999998</c:v>
                </c:pt>
                <c:pt idx="8604">
                  <c:v>15.99</c:v>
                </c:pt>
                <c:pt idx="8605">
                  <c:v>12.97</c:v>
                </c:pt>
                <c:pt idx="8606">
                  <c:v>17.97</c:v>
                </c:pt>
                <c:pt idx="8607">
                  <c:v>19.65835804078386</c:v>
                </c:pt>
                <c:pt idx="8608">
                  <c:v>26.504928782525607</c:v>
                </c:pt>
                <c:pt idx="8609">
                  <c:v>27.12</c:v>
                </c:pt>
                <c:pt idx="8610">
                  <c:v>26.96</c:v>
                </c:pt>
                <c:pt idx="8611">
                  <c:v>25.762867737948081</c:v>
                </c:pt>
                <c:pt idx="8612">
                  <c:v>22.09</c:v>
                </c:pt>
                <c:pt idx="8613">
                  <c:v>22.17</c:v>
                </c:pt>
                <c:pt idx="8614">
                  <c:v>22</c:v>
                </c:pt>
                <c:pt idx="8615">
                  <c:v>5.0600000000000005</c:v>
                </c:pt>
                <c:pt idx="8616">
                  <c:v>5.0599999999999987</c:v>
                </c:pt>
                <c:pt idx="8617">
                  <c:v>-1.44</c:v>
                </c:pt>
                <c:pt idx="8618">
                  <c:v>-6.9400000000000013</c:v>
                </c:pt>
                <c:pt idx="8619">
                  <c:v>-9.65</c:v>
                </c:pt>
                <c:pt idx="8620">
                  <c:v>-9.89</c:v>
                </c:pt>
                <c:pt idx="8621">
                  <c:v>-11.88</c:v>
                </c:pt>
                <c:pt idx="8622">
                  <c:v>-3.24</c:v>
                </c:pt>
                <c:pt idx="8623">
                  <c:v>-9.7800000000000011</c:v>
                </c:pt>
                <c:pt idx="8624">
                  <c:v>0</c:v>
                </c:pt>
                <c:pt idx="8625">
                  <c:v>2.2830613319897402</c:v>
                </c:pt>
                <c:pt idx="8626">
                  <c:v>5.6134454617384426</c:v>
                </c:pt>
                <c:pt idx="8627">
                  <c:v>5.4516083266751609</c:v>
                </c:pt>
                <c:pt idx="8628">
                  <c:v>5.7858750937478689</c:v>
                </c:pt>
                <c:pt idx="8629">
                  <c:v>1.1642936350019004</c:v>
                </c:pt>
                <c:pt idx="8630">
                  <c:v>3.9479151303733468</c:v>
                </c:pt>
                <c:pt idx="8631">
                  <c:v>10.366054708169417</c:v>
                </c:pt>
                <c:pt idx="8632">
                  <c:v>14.391517022736414</c:v>
                </c:pt>
                <c:pt idx="8633">
                  <c:v>16.381952323845418</c:v>
                </c:pt>
                <c:pt idx="8634">
                  <c:v>11.189999999999998</c:v>
                </c:pt>
                <c:pt idx="8635">
                  <c:v>18.999999999999996</c:v>
                </c:pt>
                <c:pt idx="8636">
                  <c:v>18.059999999999995</c:v>
                </c:pt>
                <c:pt idx="8637">
                  <c:v>22.02</c:v>
                </c:pt>
                <c:pt idx="8638">
                  <c:v>13.46</c:v>
                </c:pt>
                <c:pt idx="8639">
                  <c:v>25.370000000000005</c:v>
                </c:pt>
                <c:pt idx="8640">
                  <c:v>15.090000000000002</c:v>
                </c:pt>
                <c:pt idx="8641">
                  <c:v>13.93</c:v>
                </c:pt>
                <c:pt idx="8642">
                  <c:v>13.48</c:v>
                </c:pt>
                <c:pt idx="8643">
                  <c:v>12.74</c:v>
                </c:pt>
                <c:pt idx="8644">
                  <c:v>18.78</c:v>
                </c:pt>
                <c:pt idx="8645">
                  <c:v>22.967706249621141</c:v>
                </c:pt>
                <c:pt idx="8646">
                  <c:v>28.492939535447874</c:v>
                </c:pt>
                <c:pt idx="8647">
                  <c:v>32</c:v>
                </c:pt>
                <c:pt idx="8648">
                  <c:v>34.909999999999997</c:v>
                </c:pt>
                <c:pt idx="8649">
                  <c:v>34.450000000000003</c:v>
                </c:pt>
                <c:pt idx="8650">
                  <c:v>31.53</c:v>
                </c:pt>
                <c:pt idx="8651">
                  <c:v>31.919999999999998</c:v>
                </c:pt>
                <c:pt idx="8652">
                  <c:v>32.54</c:v>
                </c:pt>
                <c:pt idx="8653">
                  <c:v>33.430000000000007</c:v>
                </c:pt>
                <c:pt idx="8654">
                  <c:v>36.824880910805334</c:v>
                </c:pt>
                <c:pt idx="8655">
                  <c:v>38.880000000000003</c:v>
                </c:pt>
                <c:pt idx="8656">
                  <c:v>41.769999999999996</c:v>
                </c:pt>
                <c:pt idx="8657">
                  <c:v>38.17</c:v>
                </c:pt>
                <c:pt idx="8658">
                  <c:v>35.44</c:v>
                </c:pt>
                <c:pt idx="8659">
                  <c:v>31.31</c:v>
                </c:pt>
                <c:pt idx="8660">
                  <c:v>30.37</c:v>
                </c:pt>
                <c:pt idx="8661">
                  <c:v>29.379999999999995</c:v>
                </c:pt>
                <c:pt idx="8662">
                  <c:v>28.219999999999995</c:v>
                </c:pt>
                <c:pt idx="8663">
                  <c:v>28.870000000000005</c:v>
                </c:pt>
                <c:pt idx="8664">
                  <c:v>28.119999999999997</c:v>
                </c:pt>
                <c:pt idx="8665">
                  <c:v>27.2</c:v>
                </c:pt>
                <c:pt idx="8666">
                  <c:v>26.144727486164683</c:v>
                </c:pt>
                <c:pt idx="8667">
                  <c:v>26.60881534411433</c:v>
                </c:pt>
                <c:pt idx="8668">
                  <c:v>28.889999999999997</c:v>
                </c:pt>
                <c:pt idx="8669">
                  <c:v>30.74</c:v>
                </c:pt>
                <c:pt idx="8670">
                  <c:v>35.11</c:v>
                </c:pt>
                <c:pt idx="8671">
                  <c:v>36.231766117595726</c:v>
                </c:pt>
                <c:pt idx="8672">
                  <c:v>36.498736306729263</c:v>
                </c:pt>
                <c:pt idx="8673">
                  <c:v>37.103401576415187</c:v>
                </c:pt>
                <c:pt idx="8674">
                  <c:v>36.399222347629802</c:v>
                </c:pt>
                <c:pt idx="8675">
                  <c:v>36.259530035335686</c:v>
                </c:pt>
                <c:pt idx="8676">
                  <c:v>35.548057278159881</c:v>
                </c:pt>
                <c:pt idx="8677">
                  <c:v>34.58322716726429</c:v>
                </c:pt>
                <c:pt idx="8678">
                  <c:v>36.366957342393356</c:v>
                </c:pt>
                <c:pt idx="8679">
                  <c:v>37.897725321888409</c:v>
                </c:pt>
                <c:pt idx="8680">
                  <c:v>37.241775888534654</c:v>
                </c:pt>
                <c:pt idx="8681">
                  <c:v>41.14</c:v>
                </c:pt>
                <c:pt idx="8682">
                  <c:v>34.089999999999996</c:v>
                </c:pt>
                <c:pt idx="8683">
                  <c:v>26.14784747167726</c:v>
                </c:pt>
                <c:pt idx="8684">
                  <c:v>22.146284465066476</c:v>
                </c:pt>
                <c:pt idx="8685">
                  <c:v>26.600561531369365</c:v>
                </c:pt>
                <c:pt idx="8686">
                  <c:v>26.870000000000005</c:v>
                </c:pt>
                <c:pt idx="8687">
                  <c:v>26.33</c:v>
                </c:pt>
                <c:pt idx="8688">
                  <c:v>25.63</c:v>
                </c:pt>
                <c:pt idx="8689">
                  <c:v>21.89</c:v>
                </c:pt>
                <c:pt idx="8690">
                  <c:v>16.43</c:v>
                </c:pt>
                <c:pt idx="8691">
                  <c:v>18.86</c:v>
                </c:pt>
                <c:pt idx="8692">
                  <c:v>26.829999999999995</c:v>
                </c:pt>
                <c:pt idx="8693">
                  <c:v>27.27</c:v>
                </c:pt>
                <c:pt idx="8694">
                  <c:v>27.363154960510201</c:v>
                </c:pt>
                <c:pt idx="8695">
                  <c:v>29.493601747264382</c:v>
                </c:pt>
                <c:pt idx="8696">
                  <c:v>30.200000000000006</c:v>
                </c:pt>
                <c:pt idx="8697">
                  <c:v>29.83</c:v>
                </c:pt>
                <c:pt idx="8698">
                  <c:v>29.47</c:v>
                </c:pt>
                <c:pt idx="8699">
                  <c:v>29.199999999999996</c:v>
                </c:pt>
                <c:pt idx="8700">
                  <c:v>29.45</c:v>
                </c:pt>
                <c:pt idx="8701">
                  <c:v>30.019999999999996</c:v>
                </c:pt>
                <c:pt idx="8702">
                  <c:v>31</c:v>
                </c:pt>
                <c:pt idx="8703">
                  <c:v>32.72</c:v>
                </c:pt>
                <c:pt idx="8704">
                  <c:v>34.10306040976198</c:v>
                </c:pt>
                <c:pt idx="8705">
                  <c:v>32.79</c:v>
                </c:pt>
                <c:pt idx="8706">
                  <c:v>30.23</c:v>
                </c:pt>
                <c:pt idx="8707">
                  <c:v>28.489999999999995</c:v>
                </c:pt>
                <c:pt idx="8708">
                  <c:v>26.839592447076761</c:v>
                </c:pt>
                <c:pt idx="8709">
                  <c:v>26.9</c:v>
                </c:pt>
                <c:pt idx="8710">
                  <c:v>26.68</c:v>
                </c:pt>
                <c:pt idx="8711">
                  <c:v>27.156904952076676</c:v>
                </c:pt>
                <c:pt idx="8712">
                  <c:v>26.86</c:v>
                </c:pt>
                <c:pt idx="8713">
                  <c:v>26.39</c:v>
                </c:pt>
                <c:pt idx="8714">
                  <c:v>26.060000000000002</c:v>
                </c:pt>
                <c:pt idx="8715">
                  <c:v>26.060000000000002</c:v>
                </c:pt>
                <c:pt idx="8716">
                  <c:v>26.37</c:v>
                </c:pt>
                <c:pt idx="8717">
                  <c:v>26.79</c:v>
                </c:pt>
                <c:pt idx="8718">
                  <c:v>26.71</c:v>
                </c:pt>
                <c:pt idx="8719">
                  <c:v>26.95</c:v>
                </c:pt>
                <c:pt idx="8720">
                  <c:v>27.36</c:v>
                </c:pt>
                <c:pt idx="8721">
                  <c:v>27.45</c:v>
                </c:pt>
                <c:pt idx="8722">
                  <c:v>27.44</c:v>
                </c:pt>
                <c:pt idx="8723">
                  <c:v>27.34</c:v>
                </c:pt>
                <c:pt idx="8724">
                  <c:v>27.31</c:v>
                </c:pt>
                <c:pt idx="8725">
                  <c:v>26.911232990835877</c:v>
                </c:pt>
                <c:pt idx="8726">
                  <c:v>27.129964274114972</c:v>
                </c:pt>
                <c:pt idx="8727">
                  <c:v>27.826382959396856</c:v>
                </c:pt>
                <c:pt idx="8728">
                  <c:v>27.94</c:v>
                </c:pt>
                <c:pt idx="8729">
                  <c:v>27.660000000000004</c:v>
                </c:pt>
                <c:pt idx="8730">
                  <c:v>27.35</c:v>
                </c:pt>
                <c:pt idx="8731">
                  <c:v>21.415949735449733</c:v>
                </c:pt>
                <c:pt idx="8732">
                  <c:v>17.172670565302145</c:v>
                </c:pt>
                <c:pt idx="8733">
                  <c:v>4.71</c:v>
                </c:pt>
                <c:pt idx="8734">
                  <c:v>-0.27</c:v>
                </c:pt>
                <c:pt idx="8735">
                  <c:v>26.980000000000004</c:v>
                </c:pt>
                <c:pt idx="8736">
                  <c:v>26.44</c:v>
                </c:pt>
                <c:pt idx="8737">
                  <c:v>26.2</c:v>
                </c:pt>
                <c:pt idx="8738">
                  <c:v>25.9</c:v>
                </c:pt>
                <c:pt idx="8739">
                  <c:v>25.37</c:v>
                </c:pt>
                <c:pt idx="8740">
                  <c:v>25.59</c:v>
                </c:pt>
                <c:pt idx="8741">
                  <c:v>25.97</c:v>
                </c:pt>
                <c:pt idx="8742">
                  <c:v>26.01</c:v>
                </c:pt>
                <c:pt idx="8743">
                  <c:v>26.41</c:v>
                </c:pt>
                <c:pt idx="8744">
                  <c:v>27.01</c:v>
                </c:pt>
                <c:pt idx="8745">
                  <c:v>27.53</c:v>
                </c:pt>
                <c:pt idx="8746">
                  <c:v>27.57</c:v>
                </c:pt>
                <c:pt idx="8747">
                  <c:v>27.530000000000005</c:v>
                </c:pt>
                <c:pt idx="8748">
                  <c:v>22.183809005664546</c:v>
                </c:pt>
                <c:pt idx="8749">
                  <c:v>19.88739557664811</c:v>
                </c:pt>
                <c:pt idx="8750">
                  <c:v>20.17611262713967</c:v>
                </c:pt>
                <c:pt idx="8751">
                  <c:v>26.340547544816836</c:v>
                </c:pt>
                <c:pt idx="8752">
                  <c:v>27.949999999999996</c:v>
                </c:pt>
                <c:pt idx="8753">
                  <c:v>27.589999999999996</c:v>
                </c:pt>
                <c:pt idx="8754">
                  <c:v>25.745048134528776</c:v>
                </c:pt>
                <c:pt idx="8755">
                  <c:v>13.40006790095514</c:v>
                </c:pt>
                <c:pt idx="8756">
                  <c:v>10.562283759419351</c:v>
                </c:pt>
                <c:pt idx="8757">
                  <c:v>5.7233631785114714</c:v>
                </c:pt>
                <c:pt idx="8758">
                  <c:v>5.1595193058169961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1-7637-4BB6-92D1-8E55788C969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989408192"/>
        <c:axId val="989405240"/>
      </c:scatterChart>
      <c:valAx>
        <c:axId val="989408192"/>
        <c:scaling>
          <c:orientation val="minMax"/>
          <c:max val="1.4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800" b="1" dirty="0">
                    <a:latin typeface="+mn-lt"/>
                    <a:cs typeface="Arial" panose="020B0604020202020204" pitchFamily="34" charset="0"/>
                  </a:rPr>
                  <a:t>Wind power share of load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8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89405240"/>
        <c:crosses val="autoZero"/>
        <c:crossBetween val="midCat"/>
      </c:valAx>
      <c:valAx>
        <c:axId val="989405240"/>
        <c:scaling>
          <c:orientation val="minMax"/>
          <c:max val="1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800" b="1" dirty="0">
                    <a:latin typeface="+mn-lt"/>
                    <a:cs typeface="Arial" panose="020B0604020202020204" pitchFamily="34" charset="0"/>
                  </a:rPr>
                  <a:t>Spot price (EUR/MWh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8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89408192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6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dirty="0">
                <a:latin typeface="+mn-lt"/>
                <a:cs typeface="Arial" panose="020B0604020202020204" pitchFamily="34" charset="0"/>
              </a:rPr>
              <a:t>Wind penetration as function of storage capacit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6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scatterChart>
        <c:scatterStyle val="smoothMarker"/>
        <c:varyColors val="0"/>
        <c:ser>
          <c:idx val="0"/>
          <c:order val="0"/>
          <c:tx>
            <c:v>0 days</c:v>
          </c:tx>
          <c:spPr>
            <a:ln w="3810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Model!$P$5:$P$13</c:f>
              <c:numCache>
                <c:formatCode>0%</c:formatCode>
                <c:ptCount val="9"/>
                <c:pt idx="0" formatCode="General">
                  <c:v>0</c:v>
                </c:pt>
                <c:pt idx="1">
                  <c:v>0.4</c:v>
                </c:pt>
                <c:pt idx="2">
                  <c:v>0.6</c:v>
                </c:pt>
                <c:pt idx="3">
                  <c:v>0.8</c:v>
                </c:pt>
                <c:pt idx="4">
                  <c:v>1</c:v>
                </c:pt>
                <c:pt idx="5">
                  <c:v>1.25</c:v>
                </c:pt>
                <c:pt idx="6">
                  <c:v>1.5</c:v>
                </c:pt>
                <c:pt idx="7">
                  <c:v>1.75</c:v>
                </c:pt>
                <c:pt idx="8">
                  <c:v>2</c:v>
                </c:pt>
              </c:numCache>
            </c:numRef>
          </c:xVal>
          <c:yVal>
            <c:numRef>
              <c:f>Model!$Q$5:$Q$13</c:f>
              <c:numCache>
                <c:formatCode>0.0%</c:formatCode>
                <c:ptCount val="9"/>
                <c:pt idx="0" formatCode="General">
                  <c:v>0</c:v>
                </c:pt>
                <c:pt idx="1">
                  <c:v>0.38500000000000001</c:v>
                </c:pt>
                <c:pt idx="2">
                  <c:v>0.495</c:v>
                </c:pt>
                <c:pt idx="3">
                  <c:v>0.55500000000000005</c:v>
                </c:pt>
                <c:pt idx="4">
                  <c:v>0.59599999999999997</c:v>
                </c:pt>
                <c:pt idx="5">
                  <c:v>0.63200000000000001</c:v>
                </c:pt>
                <c:pt idx="6">
                  <c:v>0.65800000000000003</c:v>
                </c:pt>
                <c:pt idx="7">
                  <c:v>0.67799999999999994</c:v>
                </c:pt>
                <c:pt idx="8">
                  <c:v>0.6929999999999999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0CBB-44ED-ABD6-0B437A20DCC2}"/>
            </c:ext>
          </c:extLst>
        </c:ser>
        <c:ser>
          <c:idx val="1"/>
          <c:order val="1"/>
          <c:tx>
            <c:v>1 day</c:v>
          </c:tx>
          <c:spPr>
            <a:ln w="3810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Model!$P$5:$P$13</c:f>
              <c:numCache>
                <c:formatCode>0%</c:formatCode>
                <c:ptCount val="9"/>
                <c:pt idx="0" formatCode="General">
                  <c:v>0</c:v>
                </c:pt>
                <c:pt idx="1">
                  <c:v>0.4</c:v>
                </c:pt>
                <c:pt idx="2">
                  <c:v>0.6</c:v>
                </c:pt>
                <c:pt idx="3">
                  <c:v>0.8</c:v>
                </c:pt>
                <c:pt idx="4">
                  <c:v>1</c:v>
                </c:pt>
                <c:pt idx="5">
                  <c:v>1.25</c:v>
                </c:pt>
                <c:pt idx="6">
                  <c:v>1.5</c:v>
                </c:pt>
                <c:pt idx="7">
                  <c:v>1.75</c:v>
                </c:pt>
                <c:pt idx="8">
                  <c:v>2</c:v>
                </c:pt>
              </c:numCache>
            </c:numRef>
          </c:xVal>
          <c:yVal>
            <c:numRef>
              <c:f>Model!$R$5:$R$13</c:f>
              <c:numCache>
                <c:formatCode>0.0%</c:formatCode>
                <c:ptCount val="9"/>
                <c:pt idx="0" formatCode="General">
                  <c:v>0</c:v>
                </c:pt>
                <c:pt idx="1">
                  <c:v>0.39300000000000002</c:v>
                </c:pt>
                <c:pt idx="2">
                  <c:v>0.55600000000000005</c:v>
                </c:pt>
                <c:pt idx="3">
                  <c:v>0.67500000000000004</c:v>
                </c:pt>
                <c:pt idx="4">
                  <c:v>0.746</c:v>
                </c:pt>
                <c:pt idx="5">
                  <c:v>0.80599999999999994</c:v>
                </c:pt>
                <c:pt idx="6">
                  <c:v>0.84399999999999997</c:v>
                </c:pt>
                <c:pt idx="7">
                  <c:v>0.872</c:v>
                </c:pt>
                <c:pt idx="8">
                  <c:v>0.89400000000000002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0CBB-44ED-ABD6-0B437A20DCC2}"/>
            </c:ext>
          </c:extLst>
        </c:ser>
        <c:ser>
          <c:idx val="2"/>
          <c:order val="2"/>
          <c:tx>
            <c:v>10 days</c:v>
          </c:tx>
          <c:spPr>
            <a:ln w="3810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xVal>
            <c:numRef>
              <c:f>Model!$P$5:$P$13</c:f>
              <c:numCache>
                <c:formatCode>0%</c:formatCode>
                <c:ptCount val="9"/>
                <c:pt idx="0" formatCode="General">
                  <c:v>0</c:v>
                </c:pt>
                <c:pt idx="1">
                  <c:v>0.4</c:v>
                </c:pt>
                <c:pt idx="2">
                  <c:v>0.6</c:v>
                </c:pt>
                <c:pt idx="3">
                  <c:v>0.8</c:v>
                </c:pt>
                <c:pt idx="4">
                  <c:v>1</c:v>
                </c:pt>
                <c:pt idx="5">
                  <c:v>1.25</c:v>
                </c:pt>
                <c:pt idx="6">
                  <c:v>1.5</c:v>
                </c:pt>
                <c:pt idx="7">
                  <c:v>1.75</c:v>
                </c:pt>
                <c:pt idx="8">
                  <c:v>2</c:v>
                </c:pt>
              </c:numCache>
            </c:numRef>
          </c:xVal>
          <c:yVal>
            <c:numRef>
              <c:f>Model!$S$5:$S$13</c:f>
              <c:numCache>
                <c:formatCode>0.0%</c:formatCode>
                <c:ptCount val="9"/>
                <c:pt idx="0" formatCode="General">
                  <c:v>0</c:v>
                </c:pt>
                <c:pt idx="1">
                  <c:v>0.39300000000000002</c:v>
                </c:pt>
                <c:pt idx="2">
                  <c:v>0.55600000000000005</c:v>
                </c:pt>
                <c:pt idx="3">
                  <c:v>0.7</c:v>
                </c:pt>
                <c:pt idx="4">
                  <c:v>0.81299999999999994</c:v>
                </c:pt>
                <c:pt idx="5">
                  <c:v>0.90599999999999992</c:v>
                </c:pt>
                <c:pt idx="6">
                  <c:v>0.94899999999999995</c:v>
                </c:pt>
                <c:pt idx="7">
                  <c:v>0.97900000000000009</c:v>
                </c:pt>
                <c:pt idx="8">
                  <c:v>0.998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0CBB-44ED-ABD6-0B437A20DCC2}"/>
            </c:ext>
          </c:extLst>
        </c:ser>
        <c:ser>
          <c:idx val="3"/>
          <c:order val="3"/>
          <c:tx>
            <c:v>100 days</c:v>
          </c:tx>
          <c:spPr>
            <a:ln w="38100" cap="rnd">
              <a:solidFill>
                <a:schemeClr val="accent4"/>
              </a:solidFill>
              <a:round/>
            </a:ln>
            <a:effectLst/>
          </c:spPr>
          <c:marker>
            <c:symbol val="none"/>
          </c:marker>
          <c:xVal>
            <c:numRef>
              <c:f>Model!$P$5:$P$13</c:f>
              <c:numCache>
                <c:formatCode>0%</c:formatCode>
                <c:ptCount val="9"/>
                <c:pt idx="0" formatCode="General">
                  <c:v>0</c:v>
                </c:pt>
                <c:pt idx="1">
                  <c:v>0.4</c:v>
                </c:pt>
                <c:pt idx="2">
                  <c:v>0.6</c:v>
                </c:pt>
                <c:pt idx="3">
                  <c:v>0.8</c:v>
                </c:pt>
                <c:pt idx="4">
                  <c:v>1</c:v>
                </c:pt>
                <c:pt idx="5">
                  <c:v>1.25</c:v>
                </c:pt>
                <c:pt idx="6">
                  <c:v>1.5</c:v>
                </c:pt>
                <c:pt idx="7">
                  <c:v>1.75</c:v>
                </c:pt>
                <c:pt idx="8">
                  <c:v>2</c:v>
                </c:pt>
              </c:numCache>
            </c:numRef>
          </c:xVal>
          <c:yVal>
            <c:numRef>
              <c:f>Model!$T$5:$T$13</c:f>
              <c:numCache>
                <c:formatCode>0.0%</c:formatCode>
                <c:ptCount val="9"/>
                <c:pt idx="0" formatCode="General">
                  <c:v>0</c:v>
                </c:pt>
                <c:pt idx="1">
                  <c:v>0.39400000000000002</c:v>
                </c:pt>
                <c:pt idx="2">
                  <c:v>0.55600000000000005</c:v>
                </c:pt>
                <c:pt idx="3">
                  <c:v>0.7</c:v>
                </c:pt>
                <c:pt idx="4">
                  <c:v>0.82899999999999996</c:v>
                </c:pt>
                <c:pt idx="5">
                  <c:v>0.95</c:v>
                </c:pt>
                <c:pt idx="6">
                  <c:v>0.995</c:v>
                </c:pt>
                <c:pt idx="7">
                  <c:v>1</c:v>
                </c:pt>
                <c:pt idx="8">
                  <c:v>1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3-0CBB-44ED-ABD6-0B437A20DC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185425440"/>
        <c:axId val="1185425768"/>
      </c:scatterChart>
      <c:valAx>
        <c:axId val="1185425440"/>
        <c:scaling>
          <c:orientation val="minMax"/>
          <c:max val="2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800" dirty="0">
                    <a:latin typeface="+mn-lt"/>
                    <a:cs typeface="Arial" panose="020B0604020202020204" pitchFamily="34" charset="0"/>
                  </a:rPr>
                  <a:t>Wind share, rel. to load, gross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8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85425768"/>
        <c:crosses val="autoZero"/>
        <c:crossBetween val="midCat"/>
      </c:valAx>
      <c:valAx>
        <c:axId val="1185425768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800" dirty="0">
                    <a:latin typeface="+mn-lt"/>
                    <a:cs typeface="Arial" panose="020B0604020202020204" pitchFamily="34" charset="0"/>
                  </a:rPr>
                  <a:t>Wind share re. to load, net</a:t>
                </a:r>
              </a:p>
            </c:rich>
          </c:tx>
          <c:layout>
            <c:manualLayout>
              <c:xMode val="edge"/>
              <c:yMode val="edge"/>
              <c:x val="7.4269005847953217E-3"/>
              <c:y val="0.11703421114170445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8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85425440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800" b="1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14179" cy="466394"/>
          </a:xfrm>
          <a:prstGeom prst="rect">
            <a:avLst/>
          </a:prstGeom>
        </p:spPr>
        <p:txBody>
          <a:bodyPr vert="horz" lIns="85771" tIns="42885" rIns="85771" bIns="42885" rtlCol="0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39106" y="1"/>
            <a:ext cx="3014179" cy="466394"/>
          </a:xfrm>
          <a:prstGeom prst="rect">
            <a:avLst/>
          </a:prstGeom>
        </p:spPr>
        <p:txBody>
          <a:bodyPr vert="horz" lIns="85771" tIns="42885" rIns="85771" bIns="42885" rtlCol="0"/>
          <a:lstStyle>
            <a:lvl1pPr algn="r">
              <a:defRPr sz="1100"/>
            </a:lvl1pPr>
          </a:lstStyle>
          <a:p>
            <a:fld id="{7FED6672-C74D-4DF1-BC35-29A026935906}" type="datetimeFigureOut">
              <a:rPr lang="en-US" smtClean="0"/>
              <a:t>22-Mar-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706"/>
            <a:ext cx="3014179" cy="466394"/>
          </a:xfrm>
          <a:prstGeom prst="rect">
            <a:avLst/>
          </a:prstGeom>
        </p:spPr>
        <p:txBody>
          <a:bodyPr vert="horz" lIns="85771" tIns="42885" rIns="85771" bIns="42885" rtlCol="0" anchor="b"/>
          <a:lstStyle>
            <a:lvl1pPr algn="l">
              <a:defRPr sz="11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39106" y="8842706"/>
            <a:ext cx="3014179" cy="466394"/>
          </a:xfrm>
          <a:prstGeom prst="rect">
            <a:avLst/>
          </a:prstGeom>
        </p:spPr>
        <p:txBody>
          <a:bodyPr vert="horz" lIns="85771" tIns="42885" rIns="85771" bIns="42885" rtlCol="0" anchor="b"/>
          <a:lstStyle>
            <a:lvl1pPr algn="r">
              <a:defRPr sz="1100"/>
            </a:lvl1pPr>
          </a:lstStyle>
          <a:p>
            <a:fld id="{34FEA048-4EDC-4A97-AF6D-2DCBDF8E488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2432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3013763" cy="465455"/>
          </a:xfrm>
          <a:prstGeom prst="rect">
            <a:avLst/>
          </a:prstGeom>
        </p:spPr>
        <p:txBody>
          <a:bodyPr vert="horz" lIns="92924" tIns="46462" rIns="92924" bIns="46462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39466" y="2"/>
            <a:ext cx="3013763" cy="465455"/>
          </a:xfrm>
          <a:prstGeom prst="rect">
            <a:avLst/>
          </a:prstGeom>
        </p:spPr>
        <p:txBody>
          <a:bodyPr vert="horz" lIns="92924" tIns="46462" rIns="92924" bIns="46462" rtlCol="0"/>
          <a:lstStyle>
            <a:lvl1pPr algn="r">
              <a:defRPr sz="1200"/>
            </a:lvl1pPr>
          </a:lstStyle>
          <a:p>
            <a:fld id="{529D5228-B837-4FD2-AC0C-A2CD5AD80348}" type="datetimeFigureOut">
              <a:rPr lang="de-DE" smtClean="0"/>
              <a:t>22.03.2020</a:t>
            </a:fld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74650" y="698500"/>
            <a:ext cx="6205538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24" tIns="46462" rIns="92924" bIns="46462" rtlCol="0" anchor="ctr"/>
          <a:lstStyle/>
          <a:p>
            <a:endParaRPr lang="de-D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5484" y="4421822"/>
            <a:ext cx="5563870" cy="4189095"/>
          </a:xfrm>
          <a:prstGeom prst="rect">
            <a:avLst/>
          </a:prstGeom>
        </p:spPr>
        <p:txBody>
          <a:bodyPr vert="horz" lIns="92924" tIns="46462" rIns="92924" bIns="464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13763" cy="465455"/>
          </a:xfrm>
          <a:prstGeom prst="rect">
            <a:avLst/>
          </a:prstGeom>
        </p:spPr>
        <p:txBody>
          <a:bodyPr vert="horz" lIns="92924" tIns="46462" rIns="92924" bIns="46462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39466" y="8842030"/>
            <a:ext cx="3013763" cy="465455"/>
          </a:xfrm>
          <a:prstGeom prst="rect">
            <a:avLst/>
          </a:prstGeom>
        </p:spPr>
        <p:txBody>
          <a:bodyPr vert="horz" lIns="92924" tIns="46462" rIns="92924" bIns="46462" rtlCol="0" anchor="b"/>
          <a:lstStyle>
            <a:lvl1pPr algn="r">
              <a:defRPr sz="1200"/>
            </a:lvl1pPr>
          </a:lstStyle>
          <a:p>
            <a:fld id="{BB411E73-6454-416B-8526-085853CB941A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709019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763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526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289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051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3814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6577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399340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2103" algn="l" defTabSz="68552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4650" y="698500"/>
            <a:ext cx="6205538" cy="3490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411E73-6454-416B-8526-085853CB941A}" type="slidenum">
              <a:rPr lang="de-DE" smtClean="0"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589258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4650" y="698500"/>
            <a:ext cx="6205538" cy="3490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411E73-6454-416B-8526-085853CB941A}" type="slidenum">
              <a:rPr lang="de-DE" smtClean="0"/>
              <a:pPr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19181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411E73-6454-416B-8526-085853CB941A}" type="slidenum">
              <a:rPr lang="de-DE" smtClean="0"/>
              <a:pPr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63607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411E73-6454-416B-8526-085853CB941A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95608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4650" y="698500"/>
            <a:ext cx="6205538" cy="3490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411E73-6454-416B-8526-085853CB941A}" type="slidenum">
              <a:rPr lang="de-DE" smtClean="0"/>
              <a:t>1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0283861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4650" y="698500"/>
            <a:ext cx="6205538" cy="3490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411E73-6454-416B-8526-085853CB941A}" type="slidenum">
              <a:rPr lang="de-DE" smtClean="0"/>
              <a:t>1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011990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41288" y="768350"/>
            <a:ext cx="6819900" cy="383698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411E73-6454-416B-8526-085853CB941A}" type="slidenum">
              <a:rPr lang="de-DE" smtClean="0"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339540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4650" y="698500"/>
            <a:ext cx="6205538" cy="3490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411E73-6454-416B-8526-085853CB941A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152464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4650" y="698500"/>
            <a:ext cx="6205538" cy="3490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411E73-6454-416B-8526-085853CB941A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036719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4650" y="698500"/>
            <a:ext cx="6205538" cy="3490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411E73-6454-416B-8526-085853CB941A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017745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4650" y="698500"/>
            <a:ext cx="6205538" cy="3490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411E73-6454-416B-8526-085853CB941A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849888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74650" y="698500"/>
            <a:ext cx="6205538" cy="34909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411E73-6454-416B-8526-085853CB941A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23404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411E73-6454-416B-8526-085853CB941A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563766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411E73-6454-416B-8526-085853CB941A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750033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223520" y="108000"/>
            <a:ext cx="8640000" cy="2999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a-DK" sz="1350" b="1" dirty="0">
                <a:latin typeface="Arial" panose="020B0604020202020204" pitchFamily="34" charset="0"/>
                <a:cs typeface="Arial" panose="020B0604020202020204" pitchFamily="34" charset="0"/>
              </a:rPr>
              <a:t>Stiesdal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0" y="437634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360001" y="4941003"/>
            <a:ext cx="3167864" cy="2076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750" dirty="0">
                <a:latin typeface="Arial" panose="020B0604020202020204" pitchFamily="34" charset="0"/>
                <a:cs typeface="Arial" panose="020B0604020202020204" pitchFamily="34" charset="0"/>
              </a:rPr>
              <a:t>©</a:t>
            </a:r>
            <a:r>
              <a:rPr lang="da-DK" sz="750" baseline="0" dirty="0">
                <a:latin typeface="Arial" panose="020B0604020202020204" pitchFamily="34" charset="0"/>
                <a:cs typeface="Arial" panose="020B0604020202020204" pitchFamily="34" charset="0"/>
              </a:rPr>
              <a:t> Stiesdal A/S 2020, All Rights Reserved </a:t>
            </a:r>
            <a:endParaRPr lang="de-DE" sz="750" dirty="0"/>
          </a:p>
        </p:txBody>
      </p:sp>
      <p:sp>
        <p:nvSpPr>
          <p:cNvPr id="11" name="TextBox 10"/>
          <p:cNvSpPr txBox="1"/>
          <p:nvPr userDrawn="1"/>
        </p:nvSpPr>
        <p:spPr>
          <a:xfrm>
            <a:off x="5796625" y="4941003"/>
            <a:ext cx="3167864" cy="2076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750" baseline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fld id="{165C7D94-9832-4A20-AE00-0D2C659AB368}" type="slidenum">
              <a:rPr lang="de-DE" sz="750" smtClean="0"/>
              <a:pPr marL="0" marR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de-DE" sz="750" dirty="0"/>
          </a:p>
        </p:txBody>
      </p:sp>
    </p:spTree>
    <p:extLst>
      <p:ext uri="{BB962C8B-B14F-4D97-AF65-F5344CB8AC3E}">
        <p14:creationId xmlns:p14="http://schemas.microsoft.com/office/powerpoint/2010/main" val="18245341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5C7D94-9832-4A20-AE00-0D2C659AB368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192879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80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1" y="4767264"/>
            <a:ext cx="2133600" cy="27384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5C7D94-9832-4A20-AE00-0D2C659AB368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0429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sldNum="0" hdr="0" ftr="0" dt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49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99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99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4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8.em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jpeg"/><Relationship Id="rId4" Type="http://schemas.openxmlformats.org/officeDocument/2006/relationships/image" Target="../media/image2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1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2">
            <a:extLst>
              <a:ext uri="{FF2B5EF4-FFF2-40B4-BE49-F238E27FC236}">
                <a16:creationId xmlns:a16="http://schemas.microsoft.com/office/drawing/2014/main" id="{249CDC5F-CFFC-EE42-B2FC-A006A186E509}"/>
              </a:ext>
            </a:extLst>
          </p:cNvPr>
          <p:cNvSpPr txBox="1"/>
          <p:nvPr/>
        </p:nvSpPr>
        <p:spPr>
          <a:xfrm>
            <a:off x="400049" y="1502229"/>
            <a:ext cx="8422481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Energy Storage </a:t>
            </a:r>
          </a:p>
          <a:p>
            <a:pPr algn="ctr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</a:p>
          <a:p>
            <a:pPr algn="ctr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High Penetrations of Offshore Wind</a:t>
            </a:r>
          </a:p>
          <a:p>
            <a:pPr algn="ctr"/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Needs and Solutions</a:t>
            </a:r>
          </a:p>
          <a:p>
            <a:pPr algn="ctr"/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Henrik Stiesdal, 01.03.20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013209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17">
            <a:extLst>
              <a:ext uri="{FF2B5EF4-FFF2-40B4-BE49-F238E27FC236}">
                <a16:creationId xmlns:a16="http://schemas.microsoft.com/office/drawing/2014/main" id="{91ECAE28-DA4D-9E44-B137-7CB1CDB384D5}"/>
              </a:ext>
            </a:extLst>
          </p:cNvPr>
          <p:cNvSpPr txBox="1"/>
          <p:nvPr/>
        </p:nvSpPr>
        <p:spPr>
          <a:xfrm>
            <a:off x="288000" y="540000"/>
            <a:ext cx="835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The Energy Island concept</a:t>
            </a:r>
          </a:p>
        </p:txBody>
      </p:sp>
      <p:pic>
        <p:nvPicPr>
          <p:cNvPr id="3" name="Picture 2" descr="Related image">
            <a:extLst>
              <a:ext uri="{FF2B5EF4-FFF2-40B4-BE49-F238E27FC236}">
                <a16:creationId xmlns:a16="http://schemas.microsoft.com/office/drawing/2014/main" id="{6589CD6D-2CEA-4D53-A66F-D37CFA6AE62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052"/>
          <a:stretch/>
        </p:blipFill>
        <p:spPr bwMode="auto">
          <a:xfrm>
            <a:off x="5921856" y="3291841"/>
            <a:ext cx="2970000" cy="1569524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E758DB6-FA93-41B0-BB75-11D550048E5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042" b="4184"/>
          <a:stretch/>
        </p:blipFill>
        <p:spPr>
          <a:xfrm>
            <a:off x="5921856" y="1112520"/>
            <a:ext cx="2970000" cy="204216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Rectangle 3">
            <a:extLst>
              <a:ext uri="{FF2B5EF4-FFF2-40B4-BE49-F238E27FC236}">
                <a16:creationId xmlns:a16="http://schemas.microsoft.com/office/drawing/2014/main" id="{0DD4710B-7496-41BA-AFEE-78806A7C835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6000" y="1080000"/>
            <a:ext cx="5236704" cy="360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342900" indent="-342900" defTabSz="873125"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73125" eaLnBrk="0" hangingPunct="0">
              <a:spcBef>
                <a:spcPct val="20000"/>
              </a:spcBef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73125" eaLnBrk="0" hangingPunct="0">
              <a:spcBef>
                <a:spcPct val="20000"/>
              </a:spcBef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73125" eaLnBrk="0" hangingPunct="0">
              <a:spcBef>
                <a:spcPct val="20000"/>
              </a:spcBef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73125" eaLnBrk="0" hangingPunct="0">
              <a:spcBef>
                <a:spcPct val="20000"/>
              </a:spcBef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3125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3125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3125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3125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>
              <a:spcAft>
                <a:spcPts val="450"/>
              </a:spcAft>
              <a:tabLst>
                <a:tab pos="539354" algn="l"/>
                <a:tab pos="809625" algn="l"/>
              </a:tabLst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To reach 2030 target Denmark needs –</a:t>
            </a:r>
          </a:p>
          <a:p>
            <a:pPr marL="214313" indent="-214313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altLang="da-DK" sz="1600" dirty="0">
                <a:latin typeface="Arial" panose="020B0604020202020204" pitchFamily="34" charset="0"/>
                <a:cs typeface="Arial" panose="020B0604020202020204" pitchFamily="34" charset="0"/>
              </a:rPr>
              <a:t>11.5 GW of offshore wind power</a:t>
            </a:r>
          </a:p>
          <a:p>
            <a:pPr marL="214313" indent="-214313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altLang="da-DK" sz="1600" dirty="0">
                <a:latin typeface="Arial" panose="020B0604020202020204" pitchFamily="34" charset="0"/>
                <a:cs typeface="Arial" panose="020B0604020202020204" pitchFamily="34" charset="0"/>
              </a:rPr>
              <a:t>5 GW of onshore solar PV</a:t>
            </a:r>
          </a:p>
          <a:p>
            <a:pPr marL="0" indent="0">
              <a:spcAft>
                <a:spcPts val="300"/>
              </a:spcAft>
              <a:defRPr/>
            </a:pPr>
            <a:endParaRPr lang="en-US" altLang="da-DK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Aft>
                <a:spcPts val="300"/>
              </a:spcAft>
              <a:defRPr/>
            </a:pPr>
            <a:r>
              <a:rPr lang="en-US" altLang="da-DK" sz="1600" b="1" dirty="0">
                <a:latin typeface="Arial" panose="020B0604020202020204" pitchFamily="34" charset="0"/>
                <a:cs typeface="Arial" panose="020B0604020202020204" pitchFamily="34" charset="0"/>
              </a:rPr>
              <a:t>The transmission and variability challenge</a:t>
            </a:r>
          </a:p>
          <a:p>
            <a:pPr marL="214313" indent="-214313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altLang="da-DK" sz="1600" dirty="0">
                <a:latin typeface="Arial" panose="020B0604020202020204" pitchFamily="34" charset="0"/>
                <a:cs typeface="Arial" panose="020B0604020202020204" pitchFamily="34" charset="0"/>
              </a:rPr>
              <a:t>There is no feasible way to absorb 10 GW of offshore wind power from the Danish west coast into the grid</a:t>
            </a:r>
          </a:p>
          <a:p>
            <a:pPr marL="214313" indent="-214313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altLang="da-DK" sz="1600" dirty="0">
                <a:latin typeface="Arial" panose="020B0604020202020204" pitchFamily="34" charset="0"/>
                <a:cs typeface="Arial" panose="020B0604020202020204" pitchFamily="34" charset="0"/>
              </a:rPr>
              <a:t>The variability challenge is immense, with infeed varying from close to zero to several times over actual load</a:t>
            </a:r>
          </a:p>
          <a:p>
            <a:pPr marL="214313" indent="-214313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endParaRPr lang="en-US" altLang="da-DK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Aft>
                <a:spcPts val="300"/>
              </a:spcAft>
              <a:defRPr/>
            </a:pPr>
            <a:r>
              <a:rPr lang="en-US" altLang="da-DK" sz="1600" b="1" dirty="0">
                <a:latin typeface="Arial" panose="020B0604020202020204" pitchFamily="34" charset="0"/>
                <a:cs typeface="Arial" panose="020B0604020202020204" pitchFamily="34" charset="0"/>
              </a:rPr>
              <a:t>The solution</a:t>
            </a:r>
          </a:p>
          <a:p>
            <a:pPr marL="214313" indent="-214313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US" altLang="da-DK" sz="1600" dirty="0">
                <a:latin typeface="Arial" panose="020B0604020202020204" pitchFamily="34" charset="0"/>
                <a:cs typeface="Arial" panose="020B0604020202020204" pitchFamily="34" charset="0"/>
              </a:rPr>
              <a:t>A 10 GW energy island with storage and PtX production</a:t>
            </a:r>
          </a:p>
        </p:txBody>
      </p:sp>
    </p:spTree>
    <p:extLst>
      <p:ext uri="{BB962C8B-B14F-4D97-AF65-F5344CB8AC3E}">
        <p14:creationId xmlns:p14="http://schemas.microsoft.com/office/powerpoint/2010/main" val="26452273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17">
            <a:extLst>
              <a:ext uri="{FF2B5EF4-FFF2-40B4-BE49-F238E27FC236}">
                <a16:creationId xmlns:a16="http://schemas.microsoft.com/office/drawing/2014/main" id="{E5B1978E-6936-402B-812B-549DEC6C6AF9}"/>
              </a:ext>
            </a:extLst>
          </p:cNvPr>
          <p:cNvSpPr txBox="1"/>
          <p:nvPr/>
        </p:nvSpPr>
        <p:spPr>
          <a:xfrm>
            <a:off x="288000" y="540000"/>
            <a:ext cx="835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Dimensioning the Energy Islan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0FA01F4-64B0-4A7B-BC28-7EFFB340B71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2335" y="1091759"/>
            <a:ext cx="8478319" cy="357734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139185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97B1373-F4F2-493C-85A0-F97ADE054840}"/>
              </a:ext>
            </a:extLst>
          </p:cNvPr>
          <p:cNvSpPr txBox="1"/>
          <p:nvPr/>
        </p:nvSpPr>
        <p:spPr>
          <a:xfrm>
            <a:off x="294196" y="4770784"/>
            <a:ext cx="849746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Source:  IEA, Offshore Wind </a:t>
            </a:r>
            <a:r>
              <a:rPr lang="en-US" sz="800" dirty="0" err="1">
                <a:latin typeface="Arial" panose="020B0604020202020204" pitchFamily="34" charset="0"/>
                <a:cs typeface="Arial" panose="020B0604020202020204" pitchFamily="34" charset="0"/>
              </a:rPr>
              <a:t>Potlook</a:t>
            </a:r>
            <a:r>
              <a:rPr lang="en-US" sz="800" dirty="0">
                <a:latin typeface="Arial" panose="020B0604020202020204" pitchFamily="34" charset="0"/>
                <a:cs typeface="Arial" panose="020B0604020202020204" pitchFamily="34" charset="0"/>
              </a:rPr>
              <a:t> 2019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6B83247-A7F3-479E-B9E1-C2EA41B3424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0611" t="22206" r="7521" b="16162"/>
          <a:stretch/>
        </p:blipFill>
        <p:spPr>
          <a:xfrm>
            <a:off x="914397" y="997171"/>
            <a:ext cx="7110102" cy="372595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BAD0EC2-5717-421B-BB7F-18FF2E9CF758}"/>
              </a:ext>
            </a:extLst>
          </p:cNvPr>
          <p:cNvSpPr txBox="1"/>
          <p:nvPr/>
        </p:nvSpPr>
        <p:spPr>
          <a:xfrm>
            <a:off x="4807670" y="1668546"/>
            <a:ext cx="3060780" cy="1918474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Demand beyond electricity alone is huge</a:t>
            </a:r>
          </a:p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Denmark requires ~14 GW of offshore wind for pure electricity</a:t>
            </a:r>
          </a:p>
          <a:p>
            <a:pPr marL="171450" indent="-171450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If all PtX for Maersk fleet were to be supplied out of Denmark alone, the added demand would be 40 GW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17">
            <a:extLst>
              <a:ext uri="{FF2B5EF4-FFF2-40B4-BE49-F238E27FC236}">
                <a16:creationId xmlns:a16="http://schemas.microsoft.com/office/drawing/2014/main" id="{7717EF4C-18DE-4BE7-B503-725FBCC11EE3}"/>
              </a:ext>
            </a:extLst>
          </p:cNvPr>
          <p:cNvSpPr txBox="1"/>
          <p:nvPr/>
        </p:nvSpPr>
        <p:spPr>
          <a:xfrm>
            <a:off x="288000" y="540000"/>
            <a:ext cx="835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The Energy Island PtX system is also needed for transportation</a:t>
            </a:r>
          </a:p>
        </p:txBody>
      </p:sp>
    </p:spTree>
    <p:extLst>
      <p:ext uri="{BB962C8B-B14F-4D97-AF65-F5344CB8AC3E}">
        <p14:creationId xmlns:p14="http://schemas.microsoft.com/office/powerpoint/2010/main" val="42925178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>
            <a:extLst>
              <a:ext uri="{FF2B5EF4-FFF2-40B4-BE49-F238E27FC236}">
                <a16:creationId xmlns:a16="http://schemas.microsoft.com/office/drawing/2014/main" id="{E37EDAE7-F113-418C-9C1D-FAAC7CBFA359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6000" y="1080000"/>
            <a:ext cx="4662229" cy="360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342900" indent="-342900" defTabSz="873125"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73125" eaLnBrk="0" hangingPunct="0">
              <a:spcBef>
                <a:spcPct val="20000"/>
              </a:spcBef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73125" eaLnBrk="0" hangingPunct="0">
              <a:spcBef>
                <a:spcPct val="20000"/>
              </a:spcBef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73125" eaLnBrk="0" hangingPunct="0">
              <a:spcBef>
                <a:spcPct val="20000"/>
              </a:spcBef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73125" eaLnBrk="0" hangingPunct="0">
              <a:spcBef>
                <a:spcPct val="20000"/>
              </a:spcBef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3125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3125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3125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3125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Aft>
                <a:spcPts val="225"/>
              </a:spcAft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100% penetration with wind and solar PV</a:t>
            </a:r>
          </a:p>
          <a:p>
            <a:pPr marL="257175" indent="-257175">
              <a:spcAft>
                <a:spcPts val="225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t is doable – provided we have both medium- and long-term storage</a:t>
            </a:r>
          </a:p>
          <a:p>
            <a:pPr marL="257175" indent="-257175">
              <a:spcAft>
                <a:spcPts val="225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Offshore wind will be the dominant source of renewable electricity at Northern European latitudes, with a target share of 70+% of all renewable capacity</a:t>
            </a:r>
          </a:p>
          <a:p>
            <a:pPr marL="0" indent="0">
              <a:spcAft>
                <a:spcPts val="225"/>
              </a:spcAft>
            </a:pPr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Key solution elements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57175" indent="-257175">
              <a:spcAft>
                <a:spcPts val="225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Energy storage comprising mid-term storage (thermal, liquid air and similar) and long-term storage (PtX, e.g. ammonia)</a:t>
            </a:r>
          </a:p>
          <a:p>
            <a:pPr marL="257175" indent="-257175">
              <a:spcAft>
                <a:spcPts val="225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PtX can also paly dominant role in green transition of heavy transport</a:t>
            </a:r>
            <a:endParaRPr lang="en-US" altLang="da-DK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Aft>
                <a:spcPts val="225"/>
              </a:spcAft>
            </a:pPr>
            <a:endParaRPr lang="en-US" altLang="da-DK" sz="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spcAft>
                <a:spcPts val="225"/>
              </a:spcAft>
            </a:pPr>
            <a:r>
              <a:rPr lang="en-US" altLang="da-DK" sz="1600" b="1" dirty="0">
                <a:latin typeface="Arial" panose="020B0604020202020204" pitchFamily="34" charset="0"/>
                <a:cs typeface="Arial" panose="020B0604020202020204" pitchFamily="34" charset="0"/>
              </a:rPr>
              <a:t>Storage is a key enabler of the green transition!</a:t>
            </a:r>
            <a:endParaRPr lang="en-US" altLang="da-DK" sz="1600" b="1" dirty="0"/>
          </a:p>
        </p:txBody>
      </p:sp>
      <p:sp>
        <p:nvSpPr>
          <p:cNvPr id="6" name="TextBox 17">
            <a:extLst>
              <a:ext uri="{FF2B5EF4-FFF2-40B4-BE49-F238E27FC236}">
                <a16:creationId xmlns:a16="http://schemas.microsoft.com/office/drawing/2014/main" id="{6C0765CA-4EDC-4A7F-A29A-751E978D5916}"/>
              </a:ext>
            </a:extLst>
          </p:cNvPr>
          <p:cNvSpPr txBox="1"/>
          <p:nvPr/>
        </p:nvSpPr>
        <p:spPr>
          <a:xfrm>
            <a:off x="288000" y="540000"/>
            <a:ext cx="835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In summary –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4567C98-E4DE-4E13-9DDF-993E3CA986A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-5948" b="-3929"/>
          <a:stretch/>
        </p:blipFill>
        <p:spPr>
          <a:xfrm>
            <a:off x="5220000" y="909332"/>
            <a:ext cx="3600000" cy="180920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975841D6-095A-4716-BD67-3F01A5A07D4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20000" y="2906948"/>
            <a:ext cx="3600000" cy="183245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04777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2245181" y="1126672"/>
            <a:ext cx="4758293" cy="20660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700" b="1" dirty="0">
                <a:latin typeface="Arial" panose="020B0604020202020204" pitchFamily="34" charset="0"/>
                <a:cs typeface="Arial" panose="020B0604020202020204" pitchFamily="34" charset="0"/>
              </a:rPr>
              <a:t>Thanks for your attention</a:t>
            </a:r>
          </a:p>
          <a:p>
            <a:pPr algn="ctr"/>
            <a:endParaRPr lang="da-DK" sz="27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da-DK" sz="27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da-DK" sz="27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da-DK" sz="1013" b="1" dirty="0">
                <a:latin typeface="Arial" panose="020B0604020202020204" pitchFamily="34" charset="0"/>
                <a:cs typeface="Arial" panose="020B0604020202020204" pitchFamily="34" charset="0"/>
              </a:rPr>
              <a:t>Henrik Stiesdal</a:t>
            </a:r>
          </a:p>
          <a:p>
            <a:pPr algn="ctr"/>
            <a:r>
              <a:rPr lang="da-DK" sz="1013" b="1" dirty="0">
                <a:latin typeface="Arial" panose="020B0604020202020204" pitchFamily="34" charset="0"/>
                <a:cs typeface="Arial" panose="020B0604020202020204" pitchFamily="34" charset="0"/>
              </a:rPr>
              <a:t>hst@stiesdal</a:t>
            </a:r>
            <a:r>
              <a:rPr lang="da-DK" sz="1013" b="1">
                <a:latin typeface="Arial" panose="020B0604020202020204" pitchFamily="34" charset="0"/>
                <a:cs typeface="Arial" panose="020B0604020202020204" pitchFamily="34" charset="0"/>
              </a:rPr>
              <a:t>.com </a:t>
            </a:r>
            <a:endParaRPr lang="da-DK" sz="101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21218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Box 19">
            <a:extLst>
              <a:ext uri="{FF2B5EF4-FFF2-40B4-BE49-F238E27FC236}">
                <a16:creationId xmlns:a16="http://schemas.microsoft.com/office/drawing/2014/main" id="{3EE9FA9A-9B0B-4942-B16F-7A3317E583A3}"/>
              </a:ext>
            </a:extLst>
          </p:cNvPr>
          <p:cNvSpPr txBox="1"/>
          <p:nvPr/>
        </p:nvSpPr>
        <p:spPr>
          <a:xfrm>
            <a:off x="5729341" y="539912"/>
            <a:ext cx="1225797" cy="404085"/>
          </a:xfrm>
          <a:prstGeom prst="rect">
            <a:avLst/>
          </a:prstGeom>
          <a:solidFill>
            <a:srgbClr val="143EB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13" b="1" dirty="0">
                <a:solidFill>
                  <a:schemeClr val="bg1"/>
                </a:solidFill>
              </a:rPr>
              <a:t>Stiesdal A/S</a:t>
            </a:r>
          </a:p>
          <a:p>
            <a:pPr algn="ctr"/>
            <a:endParaRPr lang="en-US" sz="1013" b="1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C3E1773-1F3E-455B-BEBB-C4CC6ADB4F56}"/>
              </a:ext>
            </a:extLst>
          </p:cNvPr>
          <p:cNvSpPr txBox="1"/>
          <p:nvPr/>
        </p:nvSpPr>
        <p:spPr>
          <a:xfrm>
            <a:off x="4512172" y="1302663"/>
            <a:ext cx="1123648" cy="404085"/>
          </a:xfrm>
          <a:prstGeom prst="rect">
            <a:avLst/>
          </a:prstGeom>
          <a:solidFill>
            <a:srgbClr val="143EB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13" b="1" dirty="0">
                <a:solidFill>
                  <a:schemeClr val="bg1"/>
                </a:solidFill>
              </a:rPr>
              <a:t>Stiesdal Offshore</a:t>
            </a:r>
          </a:p>
          <a:p>
            <a:pPr algn="ctr"/>
            <a:r>
              <a:rPr lang="en-US" sz="1013" b="1" dirty="0">
                <a:solidFill>
                  <a:schemeClr val="bg1"/>
                </a:solidFill>
              </a:rPr>
              <a:t>Technologies A/S</a:t>
            </a:r>
            <a:endParaRPr lang="en-US" sz="1013" b="1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6390CC01-B409-4A92-A24A-10AC6A2F98CB}"/>
              </a:ext>
            </a:extLst>
          </p:cNvPr>
          <p:cNvSpPr txBox="1"/>
          <p:nvPr/>
        </p:nvSpPr>
        <p:spPr>
          <a:xfrm>
            <a:off x="6942172" y="1302663"/>
            <a:ext cx="1123648" cy="404085"/>
          </a:xfrm>
          <a:prstGeom prst="rect">
            <a:avLst/>
          </a:prstGeom>
          <a:solidFill>
            <a:srgbClr val="143EB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13" b="1" dirty="0">
                <a:solidFill>
                  <a:schemeClr val="bg1"/>
                </a:solidFill>
              </a:rPr>
              <a:t>Stiesdal Fuel</a:t>
            </a:r>
          </a:p>
          <a:p>
            <a:pPr algn="ctr"/>
            <a:r>
              <a:rPr lang="en-US" sz="1013" b="1" dirty="0">
                <a:solidFill>
                  <a:schemeClr val="bg1"/>
                </a:solidFill>
              </a:rPr>
              <a:t>Technologies A/S</a:t>
            </a:r>
            <a:endParaRPr lang="en-US" sz="1013" b="1" dirty="0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4B5A3E5-7666-4D6B-A376-3B84FAC522EA}"/>
              </a:ext>
            </a:extLst>
          </p:cNvPr>
          <p:cNvSpPr txBox="1"/>
          <p:nvPr/>
        </p:nvSpPr>
        <p:spPr>
          <a:xfrm>
            <a:off x="5727172" y="1302663"/>
            <a:ext cx="1123648" cy="404085"/>
          </a:xfrm>
          <a:prstGeom prst="rect">
            <a:avLst/>
          </a:prstGeom>
          <a:solidFill>
            <a:srgbClr val="143EB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1013" b="1" dirty="0">
                <a:solidFill>
                  <a:schemeClr val="bg1"/>
                </a:solidFill>
              </a:rPr>
              <a:t>Stiesdal Storage</a:t>
            </a:r>
          </a:p>
          <a:p>
            <a:pPr algn="ctr"/>
            <a:r>
              <a:rPr lang="en-US" sz="1013" b="1" dirty="0">
                <a:solidFill>
                  <a:schemeClr val="bg1"/>
                </a:solidFill>
              </a:rPr>
              <a:t>Technologies A/S</a:t>
            </a:r>
            <a:endParaRPr lang="en-US" sz="1013" b="1" dirty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50A5362E-D376-43B1-868A-130216943F6C}"/>
              </a:ext>
            </a:extLst>
          </p:cNvPr>
          <p:cNvCxnSpPr>
            <a:cxnSpLocks/>
          </p:cNvCxnSpPr>
          <p:nvPr/>
        </p:nvCxnSpPr>
        <p:spPr>
          <a:xfrm flipV="1">
            <a:off x="5078945" y="1100160"/>
            <a:ext cx="0" cy="202500"/>
          </a:xfrm>
          <a:prstGeom prst="line">
            <a:avLst/>
          </a:prstGeom>
          <a:ln w="12700">
            <a:solidFill>
              <a:srgbClr val="1033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192C17FE-828C-4967-BF80-3E20E2F84462}"/>
              </a:ext>
            </a:extLst>
          </p:cNvPr>
          <p:cNvCxnSpPr>
            <a:cxnSpLocks/>
          </p:cNvCxnSpPr>
          <p:nvPr/>
        </p:nvCxnSpPr>
        <p:spPr>
          <a:xfrm flipH="1" flipV="1">
            <a:off x="6288997" y="920785"/>
            <a:ext cx="4949" cy="381875"/>
          </a:xfrm>
          <a:prstGeom prst="line">
            <a:avLst/>
          </a:prstGeom>
          <a:ln w="12700">
            <a:solidFill>
              <a:srgbClr val="1033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24346F6D-3D2F-43EB-9809-5979A84B2C15}"/>
              </a:ext>
            </a:extLst>
          </p:cNvPr>
          <p:cNvCxnSpPr>
            <a:cxnSpLocks/>
          </p:cNvCxnSpPr>
          <p:nvPr/>
        </p:nvCxnSpPr>
        <p:spPr>
          <a:xfrm flipV="1">
            <a:off x="7508945" y="1100160"/>
            <a:ext cx="0" cy="202500"/>
          </a:xfrm>
          <a:prstGeom prst="line">
            <a:avLst/>
          </a:prstGeom>
          <a:ln w="12700">
            <a:solidFill>
              <a:srgbClr val="10339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30">
            <a:extLst>
              <a:ext uri="{FF2B5EF4-FFF2-40B4-BE49-F238E27FC236}">
                <a16:creationId xmlns:a16="http://schemas.microsoft.com/office/drawing/2014/main" id="{50B8C81B-7926-4EC8-A27A-4DFF2DE5CBF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5936" t="12776" r="47588" b="12705"/>
          <a:stretch/>
        </p:blipFill>
        <p:spPr>
          <a:xfrm>
            <a:off x="5858787" y="3388327"/>
            <a:ext cx="862719" cy="1353808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84387312-55C4-4E5F-B35E-F3F25F9C3FAA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952" r="30794" b="11626"/>
          <a:stretch/>
        </p:blipFill>
        <p:spPr>
          <a:xfrm>
            <a:off x="4770109" y="3391300"/>
            <a:ext cx="663905" cy="1353808"/>
          </a:xfrm>
          <a:prstGeom prst="rect">
            <a:avLst/>
          </a:prstGeom>
        </p:spPr>
      </p:pic>
      <p:pic>
        <p:nvPicPr>
          <p:cNvPr id="33" name="Picture 32" descr="http://www.biocharsolutions.com/uploads/3/1/6/8/3168871/6050611.jpg?733">
            <a:extLst>
              <a:ext uri="{FF2B5EF4-FFF2-40B4-BE49-F238E27FC236}">
                <a16:creationId xmlns:a16="http://schemas.microsoft.com/office/drawing/2014/main" id="{5B60731B-BC53-4A4A-B994-083A660CF3F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491" b="16941"/>
          <a:stretch/>
        </p:blipFill>
        <p:spPr bwMode="auto">
          <a:xfrm>
            <a:off x="6947984" y="3378105"/>
            <a:ext cx="1123648" cy="1096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8F8D1825-48B9-44C7-A986-6CB319578E5D}"/>
              </a:ext>
            </a:extLst>
          </p:cNvPr>
          <p:cNvSpPr/>
          <p:nvPr/>
        </p:nvSpPr>
        <p:spPr>
          <a:xfrm>
            <a:off x="5673545" y="1162847"/>
            <a:ext cx="1225796" cy="3633854"/>
          </a:xfrm>
          <a:prstGeom prst="round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8FE5636-53A1-4F9F-80AF-EF1407056504}"/>
              </a:ext>
            </a:extLst>
          </p:cNvPr>
          <p:cNvSpPr txBox="1">
            <a:spLocks/>
          </p:cNvSpPr>
          <p:nvPr/>
        </p:nvSpPr>
        <p:spPr>
          <a:xfrm>
            <a:off x="287901" y="539912"/>
            <a:ext cx="8349101" cy="3706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99" b="1" dirty="0">
                <a:latin typeface="Arial" panose="020B0604020202020204" pitchFamily="34" charset="0"/>
                <a:cs typeface="Arial" panose="020B0604020202020204" pitchFamily="34" charset="0"/>
              </a:rPr>
              <a:t>Stiesdal A/S Framework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58FEC7D-C8DB-44B5-A211-E8E032CA9796}"/>
              </a:ext>
            </a:extLst>
          </p:cNvPr>
          <p:cNvSpPr txBox="1"/>
          <p:nvPr/>
        </p:nvSpPr>
        <p:spPr>
          <a:xfrm>
            <a:off x="3559760" y="1726083"/>
            <a:ext cx="88828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Project</a:t>
            </a:r>
          </a:p>
          <a:p>
            <a:pPr algn="r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Target</a:t>
            </a:r>
          </a:p>
          <a:p>
            <a:pPr algn="r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Mean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D792A44-1554-40A9-9444-34E3BF6FA05B}"/>
              </a:ext>
            </a:extLst>
          </p:cNvPr>
          <p:cNvSpPr txBox="1"/>
          <p:nvPr/>
        </p:nvSpPr>
        <p:spPr>
          <a:xfrm>
            <a:off x="4510881" y="1726083"/>
            <a:ext cx="1169258" cy="175432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Tetra</a:t>
            </a:r>
          </a:p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Unlimited low-cost offshore wind energy</a:t>
            </a:r>
          </a:p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ndustrialized fixed &amp; floating foundation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73A3A6F-857C-4BD4-A36A-40500736846C}"/>
              </a:ext>
            </a:extLst>
          </p:cNvPr>
          <p:cNvSpPr txBox="1"/>
          <p:nvPr/>
        </p:nvSpPr>
        <p:spPr>
          <a:xfrm>
            <a:off x="6933916" y="1726083"/>
            <a:ext cx="1183531" cy="2123658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SkyClean</a:t>
            </a:r>
          </a:p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Carbon capture and sequestration</a:t>
            </a:r>
          </a:p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>
                <a:latin typeface="Arial" panose="020B0604020202020204" pitchFamily="34" charset="0"/>
                <a:cs typeface="Arial" panose="020B0604020202020204" pitchFamily="34" charset="0"/>
              </a:rPr>
              <a:t>Carbon-negative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jet fuel</a:t>
            </a:r>
          </a:p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E547120E-E7B6-46D5-A1E9-6DC13FD64245}"/>
              </a:ext>
            </a:extLst>
          </p:cNvPr>
          <p:cNvSpPr txBox="1"/>
          <p:nvPr/>
        </p:nvSpPr>
        <p:spPr>
          <a:xfrm>
            <a:off x="5730471" y="1726083"/>
            <a:ext cx="1125010" cy="175432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GridScale</a:t>
            </a:r>
          </a:p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Unlimited share of renewables on grid</a:t>
            </a:r>
          </a:p>
          <a:p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Storage system w.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10h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</a:rPr>
              <a:t>10d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capacity</a:t>
            </a:r>
          </a:p>
        </p:txBody>
      </p:sp>
      <p:cxnSp>
        <p:nvCxnSpPr>
          <p:cNvPr id="4" name="Lige forbindelse 3">
            <a:extLst>
              <a:ext uri="{FF2B5EF4-FFF2-40B4-BE49-F238E27FC236}">
                <a16:creationId xmlns:a16="http://schemas.microsoft.com/office/drawing/2014/main" id="{E6B56DAE-B21A-E54E-A2F4-058B8681F714}"/>
              </a:ext>
            </a:extLst>
          </p:cNvPr>
          <p:cNvCxnSpPr>
            <a:cxnSpLocks/>
          </p:cNvCxnSpPr>
          <p:nvPr/>
        </p:nvCxnSpPr>
        <p:spPr>
          <a:xfrm flipV="1">
            <a:off x="5078947" y="1100358"/>
            <a:ext cx="2429999" cy="1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3">
            <a:extLst>
              <a:ext uri="{FF2B5EF4-FFF2-40B4-BE49-F238E27FC236}">
                <a16:creationId xmlns:a16="http://schemas.microsoft.com/office/drawing/2014/main" id="{BA477AA0-5D59-4D35-AFF3-DADA9434ABFA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95862" y="1079724"/>
            <a:ext cx="3220501" cy="360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342900" indent="-342900" defTabSz="873125"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73125" eaLnBrk="0" hangingPunct="0">
              <a:spcBef>
                <a:spcPct val="20000"/>
              </a:spcBef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73125" eaLnBrk="0" hangingPunct="0">
              <a:spcBef>
                <a:spcPct val="20000"/>
              </a:spcBef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73125" eaLnBrk="0" hangingPunct="0">
              <a:spcBef>
                <a:spcPct val="20000"/>
              </a:spcBef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73125" eaLnBrk="0" hangingPunct="0">
              <a:spcBef>
                <a:spcPct val="20000"/>
              </a:spcBef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3125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3125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3125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3125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eaLnBrk="1" hangingPunct="1"/>
            <a:r>
              <a:rPr lang="en-US" altLang="da-DK" sz="1600" b="1" dirty="0"/>
              <a:t>Purpose</a:t>
            </a:r>
          </a:p>
          <a:p>
            <a:pPr marL="171450" lvl="1" indent="-171450" eaLnBrk="1" hangingPunct="1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altLang="da-DK" sz="1600" dirty="0"/>
              <a:t>The purpose of the Company is </a:t>
            </a:r>
            <a:r>
              <a:rPr lang="en-US" altLang="da-DK" sz="1600" b="1" dirty="0"/>
              <a:t>to contribute to climate change mitigation by developing and commercializing solutions to key challenges.</a:t>
            </a:r>
          </a:p>
          <a:p>
            <a:pPr marL="171450" lvl="1" indent="-171450" eaLnBrk="1" hangingPunct="1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altLang="da-DK" sz="1600" dirty="0"/>
              <a:t>Relevant solutions need to</a:t>
            </a:r>
          </a:p>
          <a:p>
            <a:pPr marL="360000" lvl="2" indent="-180000" eaLnBrk="1" hangingPunct="1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altLang="da-DK" sz="1600" dirty="0"/>
              <a:t>Have a </a:t>
            </a:r>
            <a:r>
              <a:rPr lang="en-US" altLang="da-DK" sz="1600" b="1" dirty="0"/>
              <a:t>potential for high impact on climate change mitigation</a:t>
            </a:r>
          </a:p>
          <a:p>
            <a:pPr marL="360000" lvl="2" indent="-180000" eaLnBrk="1" hangingPunct="1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altLang="da-DK" sz="1600" dirty="0"/>
              <a:t>Be suitable for </a:t>
            </a:r>
            <a:r>
              <a:rPr lang="en-US" altLang="da-DK" sz="1600" b="1" dirty="0"/>
              <a:t>industrialization</a:t>
            </a:r>
          </a:p>
          <a:p>
            <a:pPr marL="360000" lvl="2" indent="-180000" eaLnBrk="1" hangingPunct="1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altLang="da-DK" sz="1600" dirty="0"/>
              <a:t>Be suitable for the </a:t>
            </a:r>
            <a:r>
              <a:rPr lang="en-US" altLang="da-DK" sz="1600" b="1" dirty="0"/>
              <a:t>skills and capabilities </a:t>
            </a:r>
            <a:r>
              <a:rPr lang="en-US" altLang="da-DK" sz="1600" dirty="0"/>
              <a:t>of the Company</a:t>
            </a:r>
          </a:p>
          <a:p>
            <a:pPr marL="214313" indent="-214313" eaLnBrk="1" hangingPunct="1">
              <a:buFont typeface="Arial" panose="020B0604020202020204" pitchFamily="34" charset="0"/>
              <a:buChar char="•"/>
            </a:pPr>
            <a:endParaRPr lang="en-US" altLang="da-DK" sz="1600" dirty="0"/>
          </a:p>
        </p:txBody>
      </p:sp>
    </p:spTree>
    <p:extLst>
      <p:ext uri="{BB962C8B-B14F-4D97-AF65-F5344CB8AC3E}">
        <p14:creationId xmlns:p14="http://schemas.microsoft.com/office/powerpoint/2010/main" val="35840777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7">
            <a:extLst>
              <a:ext uri="{FF2B5EF4-FFF2-40B4-BE49-F238E27FC236}">
                <a16:creationId xmlns:a16="http://schemas.microsoft.com/office/drawing/2014/main" id="{CF91A0C3-88C4-104A-AF44-C2D80D79ADB2}"/>
              </a:ext>
            </a:extLst>
          </p:cNvPr>
          <p:cNvSpPr txBox="1"/>
          <p:nvPr/>
        </p:nvSpPr>
        <p:spPr>
          <a:xfrm>
            <a:off x="288000" y="547951"/>
            <a:ext cx="835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Key motivation for storage – renewable power integration</a:t>
            </a: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16DD4216-F0E3-594D-956F-8EAD8D7D99D0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6000" y="1080000"/>
            <a:ext cx="6858294" cy="7589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342900" indent="-342900" defTabSz="873125"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73125" eaLnBrk="0" hangingPunct="0">
              <a:spcBef>
                <a:spcPct val="20000"/>
              </a:spcBef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73125" eaLnBrk="0" hangingPunct="0">
              <a:spcBef>
                <a:spcPct val="20000"/>
              </a:spcBef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73125" eaLnBrk="0" hangingPunct="0">
              <a:spcBef>
                <a:spcPct val="20000"/>
              </a:spcBef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73125" eaLnBrk="0" hangingPunct="0">
              <a:spcBef>
                <a:spcPct val="20000"/>
              </a:spcBef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3125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3125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3125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3125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Aft>
                <a:spcPts val="450"/>
              </a:spcAft>
              <a:tabLst>
                <a:tab pos="539354" algn="l"/>
                <a:tab pos="809625" algn="l"/>
              </a:tabLst>
            </a:pP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13">
            <a:extLst>
              <a:ext uri="{FF2B5EF4-FFF2-40B4-BE49-F238E27FC236}">
                <a16:creationId xmlns:a16="http://schemas.microsoft.com/office/drawing/2014/main" id="{E1C19ECB-8D12-0B4D-8059-89C32B41833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5428" y="4803379"/>
            <a:ext cx="3551635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110000"/>
              </a:lnSpc>
              <a:buClr>
                <a:schemeClr val="accent1"/>
              </a:buClr>
              <a:buFont typeface="Arial" pitchFamily="34" charset="0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2pPr>
            <a:lvl3pPr marL="1143000" indent="-2286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3pPr>
            <a:lvl4pPr marL="1600200" indent="-2286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4pPr>
            <a:lvl5pPr marL="2057400" indent="-2286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buClrTx/>
              <a:buFont typeface="Wingdings" pitchFamily="2" charset="2"/>
              <a:buNone/>
            </a:pPr>
            <a:r>
              <a:rPr lang="da-DK" altLang="da-DK" sz="750" dirty="0">
                <a:solidFill>
                  <a:schemeClr val="tx1"/>
                </a:solidFill>
              </a:rPr>
              <a:t>Source: EMD International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8210846-A838-45D1-9398-9677091725B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190" t="27535" r="873" b="6284"/>
          <a:stretch/>
        </p:blipFill>
        <p:spPr>
          <a:xfrm>
            <a:off x="108856" y="980237"/>
            <a:ext cx="8955315" cy="378096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138239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6D9EF851-DDBE-4FB6-9583-1739B58940F4}"/>
              </a:ext>
            </a:extLst>
          </p:cNvPr>
          <p:cNvGraphicFramePr>
            <a:graphicFrameLocks noGrp="1"/>
          </p:cNvGraphicFramePr>
          <p:nvPr/>
        </p:nvGraphicFramePr>
        <p:xfrm>
          <a:off x="396000" y="909332"/>
          <a:ext cx="8433144" cy="4101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17">
            <a:extLst>
              <a:ext uri="{FF2B5EF4-FFF2-40B4-BE49-F238E27FC236}">
                <a16:creationId xmlns:a16="http://schemas.microsoft.com/office/drawing/2014/main" id="{EB413845-7D1C-C747-BA71-01619DF0044F}"/>
              </a:ext>
            </a:extLst>
          </p:cNvPr>
          <p:cNvSpPr txBox="1"/>
          <p:nvPr/>
        </p:nvSpPr>
        <p:spPr>
          <a:xfrm>
            <a:off x="288000" y="540000"/>
            <a:ext cx="835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Market mechanisms reduce the value of wind production</a:t>
            </a:r>
          </a:p>
        </p:txBody>
      </p:sp>
      <p:sp>
        <p:nvSpPr>
          <p:cNvPr id="8" name="TextBox 13">
            <a:extLst>
              <a:ext uri="{FF2B5EF4-FFF2-40B4-BE49-F238E27FC236}">
                <a16:creationId xmlns:a16="http://schemas.microsoft.com/office/drawing/2014/main" id="{5C2EB7C5-9B9F-0A4C-A33A-6BAB0E2B7F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5428" y="4803379"/>
            <a:ext cx="3551635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110000"/>
              </a:lnSpc>
              <a:buClr>
                <a:schemeClr val="accent1"/>
              </a:buClr>
              <a:buFont typeface="Arial" pitchFamily="34" charset="0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2pPr>
            <a:lvl3pPr marL="1143000" indent="-2286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3pPr>
            <a:lvl4pPr marL="1600200" indent="-2286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4pPr>
            <a:lvl5pPr marL="2057400" indent="-2286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buClrTx/>
              <a:buFont typeface="Wingdings" pitchFamily="2" charset="2"/>
              <a:buNone/>
            </a:pPr>
            <a:r>
              <a:rPr lang="da-DK" altLang="da-DK" sz="750" dirty="0">
                <a:solidFill>
                  <a:schemeClr val="tx1"/>
                </a:solidFill>
              </a:rPr>
              <a:t>Source: </a:t>
            </a:r>
            <a:r>
              <a:rPr lang="da-DK" altLang="da-DK" sz="750" dirty="0" err="1">
                <a:solidFill>
                  <a:schemeClr val="tx1"/>
                </a:solidFill>
              </a:rPr>
              <a:t>Energinet.dk</a:t>
            </a:r>
            <a:endParaRPr lang="da-DK" altLang="da-DK" sz="75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370362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D4115DA9-962A-43C9-8490-9E729FFADB14}"/>
              </a:ext>
            </a:extLst>
          </p:cNvPr>
          <p:cNvGraphicFramePr>
            <a:graphicFrameLocks noGrp="1"/>
          </p:cNvGraphicFramePr>
          <p:nvPr/>
        </p:nvGraphicFramePr>
        <p:xfrm>
          <a:off x="396000" y="909332"/>
          <a:ext cx="8550000" cy="41079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17">
            <a:extLst>
              <a:ext uri="{FF2B5EF4-FFF2-40B4-BE49-F238E27FC236}">
                <a16:creationId xmlns:a16="http://schemas.microsoft.com/office/drawing/2014/main" id="{E2216FC0-0430-DC47-9B7F-76387785D491}"/>
              </a:ext>
            </a:extLst>
          </p:cNvPr>
          <p:cNvSpPr txBox="1"/>
          <p:nvPr/>
        </p:nvSpPr>
        <p:spPr>
          <a:xfrm>
            <a:off x="288000" y="540000"/>
            <a:ext cx="835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So – how much storage do we need?</a:t>
            </a:r>
          </a:p>
        </p:txBody>
      </p:sp>
    </p:spTree>
    <p:extLst>
      <p:ext uri="{BB962C8B-B14F-4D97-AF65-F5344CB8AC3E}">
        <p14:creationId xmlns:p14="http://schemas.microsoft.com/office/powerpoint/2010/main" val="35477841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>
        <p:bldSub>
          <a:bldChart bld="series"/>
        </p:bldSub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Related image">
            <a:extLst>
              <a:ext uri="{FF2B5EF4-FFF2-40B4-BE49-F238E27FC236}">
                <a16:creationId xmlns:a16="http://schemas.microsoft.com/office/drawing/2014/main" id="{2D38529A-727F-4A90-85EE-934AF95E3F6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53"/>
          <a:stretch/>
        </p:blipFill>
        <p:spPr bwMode="auto">
          <a:xfrm>
            <a:off x="970652" y="909332"/>
            <a:ext cx="6700946" cy="41146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90ADE45A-175E-4510-95BC-1631454464C2}"/>
              </a:ext>
            </a:extLst>
          </p:cNvPr>
          <p:cNvSpPr/>
          <p:nvPr/>
        </p:nvSpPr>
        <p:spPr>
          <a:xfrm>
            <a:off x="4003369" y="2347982"/>
            <a:ext cx="2397431" cy="337331"/>
          </a:xfrm>
          <a:prstGeom prst="roundRect">
            <a:avLst/>
          </a:prstGeom>
          <a:solidFill>
            <a:srgbClr val="56EB21">
              <a:alpha val="35000"/>
            </a:srgbClr>
          </a:solidFill>
          <a:effectLst>
            <a:outerShdw blurRad="50800" dist="50800" dir="2700000" algn="ctr" rotWithShape="0">
              <a:srgbClr val="000000">
                <a:alpha val="35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0" rtlCol="0" anchor="b" anchorCtr="0"/>
          <a:lstStyle/>
          <a:p>
            <a:pPr algn="r"/>
            <a:r>
              <a:rPr lang="en-US" sz="1800" b="1" dirty="0">
                <a:solidFill>
                  <a:schemeClr val="bg1"/>
                </a:solidFill>
              </a:rPr>
              <a:t>Therm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C16D5D5-C0C2-4E76-9B2F-C9D601817E1C}"/>
              </a:ext>
            </a:extLst>
          </p:cNvPr>
          <p:cNvSpPr txBox="1"/>
          <p:nvPr/>
        </p:nvSpPr>
        <p:spPr>
          <a:xfrm>
            <a:off x="2338014" y="1256308"/>
            <a:ext cx="14630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/>
              <a:t>Seasonal</a:t>
            </a:r>
          </a:p>
          <a:p>
            <a:r>
              <a:rPr lang="en-US" sz="1600" b="1" dirty="0"/>
              <a:t>Mid-term</a:t>
            </a:r>
          </a:p>
          <a:p>
            <a:r>
              <a:rPr lang="en-US" sz="1600" b="1" dirty="0"/>
              <a:t>Short-term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ED657807-3BAA-42CA-B2D9-3FE51C24535D}"/>
              </a:ext>
            </a:extLst>
          </p:cNvPr>
          <p:cNvCxnSpPr>
            <a:cxnSpLocks/>
          </p:cNvCxnSpPr>
          <p:nvPr/>
        </p:nvCxnSpPr>
        <p:spPr>
          <a:xfrm>
            <a:off x="3275937" y="1447137"/>
            <a:ext cx="2210463" cy="417382"/>
          </a:xfrm>
          <a:prstGeom prst="straightConnector1">
            <a:avLst/>
          </a:prstGeom>
          <a:ln w="190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CEDE2ECE-0B9A-4C72-9E49-78D80E359EF8}"/>
              </a:ext>
            </a:extLst>
          </p:cNvPr>
          <p:cNvCxnSpPr>
            <a:cxnSpLocks/>
          </p:cNvCxnSpPr>
          <p:nvPr/>
        </p:nvCxnSpPr>
        <p:spPr>
          <a:xfrm>
            <a:off x="3275937" y="1677725"/>
            <a:ext cx="727432" cy="670256"/>
          </a:xfrm>
          <a:prstGeom prst="straightConnector1">
            <a:avLst/>
          </a:prstGeom>
          <a:ln w="190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D30D21ED-EACD-4BCF-9720-F9437F7802E0}"/>
              </a:ext>
            </a:extLst>
          </p:cNvPr>
          <p:cNvCxnSpPr>
            <a:cxnSpLocks/>
          </p:cNvCxnSpPr>
          <p:nvPr/>
        </p:nvCxnSpPr>
        <p:spPr>
          <a:xfrm>
            <a:off x="3403158" y="2087305"/>
            <a:ext cx="174929" cy="484445"/>
          </a:xfrm>
          <a:prstGeom prst="straightConnector1">
            <a:avLst/>
          </a:prstGeom>
          <a:ln w="190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>
            <a:extLst>
              <a:ext uri="{FF2B5EF4-FFF2-40B4-BE49-F238E27FC236}">
                <a16:creationId xmlns:a16="http://schemas.microsoft.com/office/drawing/2014/main" id="{B39AB8A8-3FD3-41E6-938D-B20D3483F15E}"/>
              </a:ext>
            </a:extLst>
          </p:cNvPr>
          <p:cNvSpPr txBox="1"/>
          <p:nvPr/>
        </p:nvSpPr>
        <p:spPr>
          <a:xfrm>
            <a:off x="5915622" y="1965820"/>
            <a:ext cx="1402080" cy="2654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25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Ammonia)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4E720E8-D963-4D8B-8885-1306A89F120F}"/>
              </a:ext>
            </a:extLst>
          </p:cNvPr>
          <p:cNvCxnSpPr>
            <a:cxnSpLocks/>
          </p:cNvCxnSpPr>
          <p:nvPr/>
        </p:nvCxnSpPr>
        <p:spPr>
          <a:xfrm>
            <a:off x="2219689" y="2702744"/>
            <a:ext cx="6488083" cy="36721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7">
            <a:extLst>
              <a:ext uri="{FF2B5EF4-FFF2-40B4-BE49-F238E27FC236}">
                <a16:creationId xmlns:a16="http://schemas.microsoft.com/office/drawing/2014/main" id="{145CDC2D-D238-7046-AAEE-E0B6FD293D6F}"/>
              </a:ext>
            </a:extLst>
          </p:cNvPr>
          <p:cNvSpPr txBox="1"/>
          <p:nvPr/>
        </p:nvSpPr>
        <p:spPr>
          <a:xfrm>
            <a:off x="288000" y="540000"/>
            <a:ext cx="835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Some available storage technologies</a:t>
            </a:r>
          </a:p>
        </p:txBody>
      </p:sp>
      <p:sp>
        <p:nvSpPr>
          <p:cNvPr id="17" name="TextBox 13">
            <a:extLst>
              <a:ext uri="{FF2B5EF4-FFF2-40B4-BE49-F238E27FC236}">
                <a16:creationId xmlns:a16="http://schemas.microsoft.com/office/drawing/2014/main" id="{67B333AF-BCCE-7B44-829D-942B0E0A70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5428" y="4803379"/>
            <a:ext cx="3551635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110000"/>
              </a:lnSpc>
              <a:buClr>
                <a:schemeClr val="accent1"/>
              </a:buClr>
              <a:buFont typeface="Arial" pitchFamily="34" charset="0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2pPr>
            <a:lvl3pPr marL="1143000" indent="-2286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3pPr>
            <a:lvl4pPr marL="1600200" indent="-2286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4pPr>
            <a:lvl5pPr marL="2057400" indent="-2286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buClrTx/>
              <a:buFont typeface="Wingdings" pitchFamily="2" charset="2"/>
              <a:buNone/>
            </a:pPr>
            <a:r>
              <a:rPr lang="da-DK" altLang="da-DK" sz="750" dirty="0">
                <a:solidFill>
                  <a:schemeClr val="tx1"/>
                </a:solidFill>
              </a:rPr>
              <a:t>Source: IIDS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74316CD-62C8-43F0-85E6-54A26DC5F00E}"/>
              </a:ext>
            </a:extLst>
          </p:cNvPr>
          <p:cNvSpPr txBox="1"/>
          <p:nvPr/>
        </p:nvSpPr>
        <p:spPr>
          <a:xfrm>
            <a:off x="2939143" y="872046"/>
            <a:ext cx="3875314" cy="4847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B67ABD7D-B0ED-4D39-9DF9-0A0D809C9646}"/>
              </a:ext>
            </a:extLst>
          </p:cNvPr>
          <p:cNvCxnSpPr>
            <a:cxnSpLocks/>
          </p:cNvCxnSpPr>
          <p:nvPr/>
        </p:nvCxnSpPr>
        <p:spPr>
          <a:xfrm flipH="1">
            <a:off x="6558642" y="2516647"/>
            <a:ext cx="752708" cy="1"/>
          </a:xfrm>
          <a:prstGeom prst="straightConnector1">
            <a:avLst/>
          </a:prstGeom>
          <a:ln w="190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28">
            <a:extLst>
              <a:ext uri="{FF2B5EF4-FFF2-40B4-BE49-F238E27FC236}">
                <a16:creationId xmlns:a16="http://schemas.microsoft.com/office/drawing/2014/main" id="{2961D12D-4A19-486D-B618-71F505D0FD6A}"/>
              </a:ext>
            </a:extLst>
          </p:cNvPr>
          <p:cNvSpPr txBox="1"/>
          <p:nvPr/>
        </p:nvSpPr>
        <p:spPr>
          <a:xfrm>
            <a:off x="7309302" y="885130"/>
            <a:ext cx="1463040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600" b="1" dirty="0"/>
          </a:p>
          <a:p>
            <a:r>
              <a:rPr lang="en-US" sz="1600" b="1" dirty="0"/>
              <a:t>Round-trip </a:t>
            </a:r>
          </a:p>
          <a:p>
            <a:r>
              <a:rPr lang="en-US" sz="1600" b="1" dirty="0"/>
              <a:t>efficiency</a:t>
            </a:r>
          </a:p>
          <a:p>
            <a:endParaRPr lang="en-US" sz="1600" b="1" dirty="0"/>
          </a:p>
          <a:p>
            <a:r>
              <a:rPr lang="en-US" sz="1600" b="1" dirty="0"/>
              <a:t>35-40%</a:t>
            </a:r>
          </a:p>
          <a:p>
            <a:endParaRPr lang="en-US" sz="1600" b="1" dirty="0"/>
          </a:p>
          <a:p>
            <a:r>
              <a:rPr lang="en-US" sz="1600" b="1" dirty="0"/>
              <a:t>50-65%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9FD8CB83-DB12-4098-BE42-84191E7065C0}"/>
              </a:ext>
            </a:extLst>
          </p:cNvPr>
          <p:cNvCxnSpPr>
            <a:cxnSpLocks/>
          </p:cNvCxnSpPr>
          <p:nvPr/>
        </p:nvCxnSpPr>
        <p:spPr>
          <a:xfrm flipH="1">
            <a:off x="7132041" y="2027686"/>
            <a:ext cx="180000" cy="0"/>
          </a:xfrm>
          <a:prstGeom prst="straightConnector1">
            <a:avLst/>
          </a:prstGeom>
          <a:ln w="19050">
            <a:solidFill>
              <a:schemeClr val="tx1"/>
            </a:solidFill>
            <a:tailEnd type="stealth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47232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4" grpId="0"/>
      <p:bldP spid="24" grpId="0"/>
      <p:bldP spid="2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Box 17">
            <a:extLst>
              <a:ext uri="{FF2B5EF4-FFF2-40B4-BE49-F238E27FC236}">
                <a16:creationId xmlns:a16="http://schemas.microsoft.com/office/drawing/2014/main" id="{47375786-F5AD-5342-B2E7-A857457A2288}"/>
              </a:ext>
            </a:extLst>
          </p:cNvPr>
          <p:cNvSpPr txBox="1"/>
          <p:nvPr/>
        </p:nvSpPr>
        <p:spPr>
          <a:xfrm>
            <a:off x="288000" y="540000"/>
            <a:ext cx="835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Two of the key storage technologies for offshore wind integration</a:t>
            </a:r>
          </a:p>
        </p:txBody>
      </p:sp>
      <p:sp>
        <p:nvSpPr>
          <p:cNvPr id="26" name="Rectangle 3">
            <a:extLst>
              <a:ext uri="{FF2B5EF4-FFF2-40B4-BE49-F238E27FC236}">
                <a16:creationId xmlns:a16="http://schemas.microsoft.com/office/drawing/2014/main" id="{6764E39D-A8E1-3A45-8FF7-0E734D7A7EA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212350" y="984905"/>
            <a:ext cx="5535649" cy="360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marL="342900" indent="-342900" defTabSz="873125"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73125" eaLnBrk="0" hangingPunct="0">
              <a:spcBef>
                <a:spcPct val="20000"/>
              </a:spcBef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73125" eaLnBrk="0" hangingPunct="0">
              <a:spcBef>
                <a:spcPct val="20000"/>
              </a:spcBef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73125" eaLnBrk="0" hangingPunct="0">
              <a:spcBef>
                <a:spcPct val="20000"/>
              </a:spcBef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73125" eaLnBrk="0" hangingPunct="0">
              <a:spcBef>
                <a:spcPct val="20000"/>
              </a:spcBef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73125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73125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73125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73125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indent="0" algn="ctr">
              <a:spcAft>
                <a:spcPts val="450"/>
              </a:spcAft>
              <a:tabLst>
                <a:tab pos="539354" algn="l"/>
                <a:tab pos="809625" algn="l"/>
              </a:tabLst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Thermal energy storage</a:t>
            </a:r>
          </a:p>
          <a:p>
            <a:pPr marL="0" indent="0" algn="ctr">
              <a:spcAft>
                <a:spcPts val="450"/>
              </a:spcAft>
              <a:tabLst>
                <a:tab pos="539354" algn="l"/>
                <a:tab pos="809625" algn="l"/>
              </a:tabLst>
            </a:pP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spcAft>
                <a:spcPts val="450"/>
              </a:spcAft>
              <a:tabLst>
                <a:tab pos="539354" algn="l"/>
                <a:tab pos="809625" algn="l"/>
              </a:tabLst>
            </a:pP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spcAft>
                <a:spcPts val="450"/>
              </a:spcAft>
              <a:tabLst>
                <a:tab pos="539354" algn="l"/>
                <a:tab pos="809625" algn="l"/>
              </a:tabLst>
            </a:pP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spcAft>
                <a:spcPts val="450"/>
              </a:spcAft>
              <a:tabLst>
                <a:tab pos="539354" algn="l"/>
                <a:tab pos="809625" algn="l"/>
              </a:tabLst>
            </a:pP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spcAft>
                <a:spcPts val="450"/>
              </a:spcAft>
              <a:tabLst>
                <a:tab pos="539354" algn="l"/>
                <a:tab pos="809625" algn="l"/>
              </a:tabLst>
            </a:pP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spcAft>
                <a:spcPts val="450"/>
              </a:spcAft>
              <a:tabLst>
                <a:tab pos="539354" algn="l"/>
                <a:tab pos="809625" algn="l"/>
              </a:tabLst>
            </a:pPr>
            <a:endParaRPr lang="en-US" sz="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spcAft>
                <a:spcPts val="450"/>
              </a:spcAft>
              <a:tabLst>
                <a:tab pos="539354" algn="l"/>
                <a:tab pos="809625" algn="l"/>
              </a:tabLst>
            </a:pPr>
            <a:endParaRPr lang="en-US" sz="8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spcAft>
                <a:spcPts val="450"/>
              </a:spcAft>
              <a:tabLst>
                <a:tab pos="539354" algn="l"/>
                <a:tab pos="809625" algn="l"/>
              </a:tabLst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Ammonia energy storag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54F4122-AC42-407E-9135-32378FDA63E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0714" t="28581" r="43809" b="13156"/>
          <a:stretch/>
        </p:blipFill>
        <p:spPr>
          <a:xfrm>
            <a:off x="396000" y="3069874"/>
            <a:ext cx="2520000" cy="1715184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1ECD70D5-27A3-403A-B454-DDE21768536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245"/>
          <a:stretch/>
        </p:blipFill>
        <p:spPr bwMode="auto">
          <a:xfrm>
            <a:off x="396000" y="1023640"/>
            <a:ext cx="2520000" cy="17134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Arrow: Right 2">
            <a:extLst>
              <a:ext uri="{FF2B5EF4-FFF2-40B4-BE49-F238E27FC236}">
                <a16:creationId xmlns:a16="http://schemas.microsoft.com/office/drawing/2014/main" id="{109F2AD1-CC51-49BF-BA67-47E2BA5E996F}"/>
              </a:ext>
            </a:extLst>
          </p:cNvPr>
          <p:cNvSpPr/>
          <p:nvPr/>
        </p:nvSpPr>
        <p:spPr>
          <a:xfrm>
            <a:off x="3537042" y="1687969"/>
            <a:ext cx="698516" cy="387706"/>
          </a:xfrm>
          <a:prstGeom prst="right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Power in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E16A445F-3F19-4F7A-8BA2-3A6BBFED596C}"/>
              </a:ext>
            </a:extLst>
          </p:cNvPr>
          <p:cNvSpPr/>
          <p:nvPr/>
        </p:nvSpPr>
        <p:spPr>
          <a:xfrm>
            <a:off x="4458987" y="1711758"/>
            <a:ext cx="775413" cy="33650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t pump</a:t>
            </a:r>
          </a:p>
        </p:txBody>
      </p:sp>
      <p:sp>
        <p:nvSpPr>
          <p:cNvPr id="24" name="Rectangle: Rounded Corners 23">
            <a:extLst>
              <a:ext uri="{FF2B5EF4-FFF2-40B4-BE49-F238E27FC236}">
                <a16:creationId xmlns:a16="http://schemas.microsoft.com/office/drawing/2014/main" id="{7F5CBB8E-4DD5-4B1D-93D4-979E1BAC0B75}"/>
              </a:ext>
            </a:extLst>
          </p:cNvPr>
          <p:cNvSpPr/>
          <p:nvPr/>
        </p:nvSpPr>
        <p:spPr>
          <a:xfrm>
            <a:off x="5538987" y="1366725"/>
            <a:ext cx="775413" cy="336500"/>
          </a:xfrm>
          <a:prstGeom prst="round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t reservoir</a:t>
            </a:r>
          </a:p>
        </p:txBody>
      </p:sp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9E53507E-DBB8-452F-8ED2-6C182413C7BB}"/>
              </a:ext>
            </a:extLst>
          </p:cNvPr>
          <p:cNvSpPr/>
          <p:nvPr/>
        </p:nvSpPr>
        <p:spPr>
          <a:xfrm>
            <a:off x="5538987" y="2053132"/>
            <a:ext cx="775413" cy="336500"/>
          </a:xfrm>
          <a:prstGeom prst="roundRect">
            <a:avLst/>
          </a:prstGeom>
          <a:solidFill>
            <a:srgbClr val="00B0F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d reservoir</a:t>
            </a: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9417AE01-8DD3-4502-BD99-B83E9A4AE0E3}"/>
              </a:ext>
            </a:extLst>
          </p:cNvPr>
          <p:cNvSpPr/>
          <p:nvPr/>
        </p:nvSpPr>
        <p:spPr>
          <a:xfrm>
            <a:off x="6618987" y="1710541"/>
            <a:ext cx="775413" cy="33650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t engine</a:t>
            </a: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4E92EFC2-9DA7-4935-8F6C-57C8F22ECF4B}"/>
              </a:ext>
            </a:extLst>
          </p:cNvPr>
          <p:cNvSpPr/>
          <p:nvPr/>
        </p:nvSpPr>
        <p:spPr>
          <a:xfrm>
            <a:off x="7677042" y="1687969"/>
            <a:ext cx="698516" cy="387706"/>
          </a:xfrm>
          <a:prstGeom prst="right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Power out</a:t>
            </a:r>
          </a:p>
        </p:txBody>
      </p:sp>
      <p:cxnSp>
        <p:nvCxnSpPr>
          <p:cNvPr id="30" name="Connector: Elbow 29">
            <a:extLst>
              <a:ext uri="{FF2B5EF4-FFF2-40B4-BE49-F238E27FC236}">
                <a16:creationId xmlns:a16="http://schemas.microsoft.com/office/drawing/2014/main" id="{D8CC9962-61DB-4E8C-8B96-AB6639E3DA79}"/>
              </a:ext>
            </a:extLst>
          </p:cNvPr>
          <p:cNvCxnSpPr>
            <a:stCxn id="4" idx="0"/>
            <a:endCxn id="24" idx="1"/>
          </p:cNvCxnSpPr>
          <p:nvPr/>
        </p:nvCxnSpPr>
        <p:spPr>
          <a:xfrm rot="5400000" flipH="1" flipV="1">
            <a:off x="5104449" y="1277221"/>
            <a:ext cx="176783" cy="692293"/>
          </a:xfrm>
          <a:prstGeom prst="bentConnector2">
            <a:avLst/>
          </a:prstGeom>
          <a:ln w="12700">
            <a:headEnd type="none"/>
            <a:tailEnd type="stealt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or: Elbow 36">
            <a:extLst>
              <a:ext uri="{FF2B5EF4-FFF2-40B4-BE49-F238E27FC236}">
                <a16:creationId xmlns:a16="http://schemas.microsoft.com/office/drawing/2014/main" id="{9EF5B9A3-0E23-4CAB-AC15-EAE3DD5E1BC0}"/>
              </a:ext>
            </a:extLst>
          </p:cNvPr>
          <p:cNvCxnSpPr>
            <a:stCxn id="24" idx="3"/>
            <a:endCxn id="28" idx="0"/>
          </p:cNvCxnSpPr>
          <p:nvPr/>
        </p:nvCxnSpPr>
        <p:spPr>
          <a:xfrm>
            <a:off x="6314400" y="1534975"/>
            <a:ext cx="692294" cy="175566"/>
          </a:xfrm>
          <a:prstGeom prst="bentConnector2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38">
            <a:extLst>
              <a:ext uri="{FF2B5EF4-FFF2-40B4-BE49-F238E27FC236}">
                <a16:creationId xmlns:a16="http://schemas.microsoft.com/office/drawing/2014/main" id="{D0B715BC-3559-4BB2-A399-72DAF27991B4}"/>
              </a:ext>
            </a:extLst>
          </p:cNvPr>
          <p:cNvCxnSpPr>
            <a:stCxn id="4" idx="2"/>
            <a:endCxn id="27" idx="1"/>
          </p:cNvCxnSpPr>
          <p:nvPr/>
        </p:nvCxnSpPr>
        <p:spPr>
          <a:xfrm rot="16200000" flipH="1">
            <a:off x="5106278" y="1788673"/>
            <a:ext cx="173124" cy="692293"/>
          </a:xfrm>
          <a:prstGeom prst="bentConnector2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nector: Elbow 40">
            <a:extLst>
              <a:ext uri="{FF2B5EF4-FFF2-40B4-BE49-F238E27FC236}">
                <a16:creationId xmlns:a16="http://schemas.microsoft.com/office/drawing/2014/main" id="{01D793D8-BC5F-460A-A99A-221CD644EA78}"/>
              </a:ext>
            </a:extLst>
          </p:cNvPr>
          <p:cNvCxnSpPr>
            <a:stCxn id="27" idx="3"/>
            <a:endCxn id="28" idx="2"/>
          </p:cNvCxnSpPr>
          <p:nvPr/>
        </p:nvCxnSpPr>
        <p:spPr>
          <a:xfrm flipV="1">
            <a:off x="6314400" y="2047041"/>
            <a:ext cx="692294" cy="174341"/>
          </a:xfrm>
          <a:prstGeom prst="bentConnector2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066DB811-2002-4EDA-ACEE-52235BFECFF2}"/>
              </a:ext>
            </a:extLst>
          </p:cNvPr>
          <p:cNvCxnSpPr>
            <a:stCxn id="3" idx="3"/>
            <a:endCxn id="4" idx="1"/>
          </p:cNvCxnSpPr>
          <p:nvPr/>
        </p:nvCxnSpPr>
        <p:spPr>
          <a:xfrm flipV="1">
            <a:off x="4235558" y="1880008"/>
            <a:ext cx="223429" cy="1814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28217F89-E563-45D6-AA6C-096DBE283220}"/>
              </a:ext>
            </a:extLst>
          </p:cNvPr>
          <p:cNvCxnSpPr>
            <a:stCxn id="28" idx="3"/>
            <a:endCxn id="29" idx="1"/>
          </p:cNvCxnSpPr>
          <p:nvPr/>
        </p:nvCxnSpPr>
        <p:spPr>
          <a:xfrm>
            <a:off x="7394400" y="1878791"/>
            <a:ext cx="282642" cy="303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Arrow: Right 46">
            <a:extLst>
              <a:ext uri="{FF2B5EF4-FFF2-40B4-BE49-F238E27FC236}">
                <a16:creationId xmlns:a16="http://schemas.microsoft.com/office/drawing/2014/main" id="{929DB6B4-3EC5-4C4A-9112-F02CB55A06FB}"/>
              </a:ext>
            </a:extLst>
          </p:cNvPr>
          <p:cNvSpPr/>
          <p:nvPr/>
        </p:nvSpPr>
        <p:spPr>
          <a:xfrm>
            <a:off x="3235899" y="3727690"/>
            <a:ext cx="698516" cy="387706"/>
          </a:xfrm>
          <a:prstGeom prst="right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Power in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E2037F26-83ED-4533-BD7F-364CC7C1BCE4}"/>
              </a:ext>
            </a:extLst>
          </p:cNvPr>
          <p:cNvSpPr/>
          <p:nvPr/>
        </p:nvSpPr>
        <p:spPr>
          <a:xfrm>
            <a:off x="4157844" y="3408080"/>
            <a:ext cx="775413" cy="33650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rolysis</a:t>
            </a:r>
          </a:p>
        </p:txBody>
      </p:sp>
      <p:sp>
        <p:nvSpPr>
          <p:cNvPr id="51" name="Rectangle: Rounded Corners 50">
            <a:extLst>
              <a:ext uri="{FF2B5EF4-FFF2-40B4-BE49-F238E27FC236}">
                <a16:creationId xmlns:a16="http://schemas.microsoft.com/office/drawing/2014/main" id="{EB45E408-413C-4D50-95C7-B33E937E227B}"/>
              </a:ext>
            </a:extLst>
          </p:cNvPr>
          <p:cNvSpPr/>
          <p:nvPr/>
        </p:nvSpPr>
        <p:spPr>
          <a:xfrm>
            <a:off x="7096290" y="3750262"/>
            <a:ext cx="775413" cy="33650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t engine</a:t>
            </a:r>
          </a:p>
        </p:txBody>
      </p:sp>
      <p:sp>
        <p:nvSpPr>
          <p:cNvPr id="52" name="Arrow: Right 51">
            <a:extLst>
              <a:ext uri="{FF2B5EF4-FFF2-40B4-BE49-F238E27FC236}">
                <a16:creationId xmlns:a16="http://schemas.microsoft.com/office/drawing/2014/main" id="{15E8D978-B58B-42D1-9E11-37B6339B930D}"/>
              </a:ext>
            </a:extLst>
          </p:cNvPr>
          <p:cNvSpPr/>
          <p:nvPr/>
        </p:nvSpPr>
        <p:spPr>
          <a:xfrm>
            <a:off x="8063528" y="3727690"/>
            <a:ext cx="698516" cy="387706"/>
          </a:xfrm>
          <a:prstGeom prst="rightArrow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Power out</a:t>
            </a:r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198DC2CA-7840-40B4-B9DC-A2CAB84C8721}"/>
              </a:ext>
            </a:extLst>
          </p:cNvPr>
          <p:cNvCxnSpPr>
            <a:stCxn id="51" idx="3"/>
            <a:endCxn id="52" idx="1"/>
          </p:cNvCxnSpPr>
          <p:nvPr/>
        </p:nvCxnSpPr>
        <p:spPr>
          <a:xfrm>
            <a:off x="7871703" y="3918512"/>
            <a:ext cx="191825" cy="303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5D6C690C-AACB-42EF-89A3-0E0B029605BD}"/>
              </a:ext>
            </a:extLst>
          </p:cNvPr>
          <p:cNvSpPr/>
          <p:nvPr/>
        </p:nvSpPr>
        <p:spPr>
          <a:xfrm>
            <a:off x="4158719" y="4092080"/>
            <a:ext cx="775413" cy="33650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trogen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paration</a:t>
            </a:r>
          </a:p>
        </p:txBody>
      </p:sp>
      <p:cxnSp>
        <p:nvCxnSpPr>
          <p:cNvPr id="60" name="Connector: Elbow 59">
            <a:extLst>
              <a:ext uri="{FF2B5EF4-FFF2-40B4-BE49-F238E27FC236}">
                <a16:creationId xmlns:a16="http://schemas.microsoft.com/office/drawing/2014/main" id="{9A5C1864-920C-4C41-992C-5FB4093CB1BE}"/>
              </a:ext>
            </a:extLst>
          </p:cNvPr>
          <p:cNvCxnSpPr>
            <a:cxnSpLocks/>
            <a:stCxn id="47" idx="3"/>
            <a:endCxn id="48" idx="1"/>
          </p:cNvCxnSpPr>
          <p:nvPr/>
        </p:nvCxnSpPr>
        <p:spPr>
          <a:xfrm flipV="1">
            <a:off x="3934415" y="3576330"/>
            <a:ext cx="223429" cy="345213"/>
          </a:xfrm>
          <a:prstGeom prst="bentConnector3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B353581B-35ED-4DA8-B542-4DDDACBA4604}"/>
              </a:ext>
            </a:extLst>
          </p:cNvPr>
          <p:cNvCxnSpPr>
            <a:stCxn id="47" idx="3"/>
            <a:endCxn id="59" idx="1"/>
          </p:cNvCxnSpPr>
          <p:nvPr/>
        </p:nvCxnSpPr>
        <p:spPr>
          <a:xfrm>
            <a:off x="3934415" y="3921543"/>
            <a:ext cx="224304" cy="338787"/>
          </a:xfrm>
          <a:prstGeom prst="bentConnector3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tangle: Rounded Corners 64">
            <a:extLst>
              <a:ext uri="{FF2B5EF4-FFF2-40B4-BE49-F238E27FC236}">
                <a16:creationId xmlns:a16="http://schemas.microsoft.com/office/drawing/2014/main" id="{D260A0CF-AA42-4CC6-95FF-D43DD2D6F67A}"/>
              </a:ext>
            </a:extLst>
          </p:cNvPr>
          <p:cNvSpPr/>
          <p:nvPr/>
        </p:nvSpPr>
        <p:spPr>
          <a:xfrm>
            <a:off x="5153507" y="3750080"/>
            <a:ext cx="775413" cy="33650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monia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nthesis</a:t>
            </a:r>
          </a:p>
        </p:txBody>
      </p:sp>
      <p:cxnSp>
        <p:nvCxnSpPr>
          <p:cNvPr id="66" name="Connector: Elbow 65">
            <a:extLst>
              <a:ext uri="{FF2B5EF4-FFF2-40B4-BE49-F238E27FC236}">
                <a16:creationId xmlns:a16="http://schemas.microsoft.com/office/drawing/2014/main" id="{C99C2495-1F31-41E1-85AE-55E54DAB8511}"/>
              </a:ext>
            </a:extLst>
          </p:cNvPr>
          <p:cNvCxnSpPr>
            <a:stCxn id="48" idx="3"/>
            <a:endCxn id="65" idx="1"/>
          </p:cNvCxnSpPr>
          <p:nvPr/>
        </p:nvCxnSpPr>
        <p:spPr>
          <a:xfrm>
            <a:off x="4933257" y="3576330"/>
            <a:ext cx="220250" cy="342000"/>
          </a:xfrm>
          <a:prstGeom prst="bentConnector3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Connector: Elbow 67">
            <a:extLst>
              <a:ext uri="{FF2B5EF4-FFF2-40B4-BE49-F238E27FC236}">
                <a16:creationId xmlns:a16="http://schemas.microsoft.com/office/drawing/2014/main" id="{1B127C2A-A974-4133-A560-F2DF812F13C2}"/>
              </a:ext>
            </a:extLst>
          </p:cNvPr>
          <p:cNvCxnSpPr>
            <a:stCxn id="59" idx="3"/>
            <a:endCxn id="65" idx="1"/>
          </p:cNvCxnSpPr>
          <p:nvPr/>
        </p:nvCxnSpPr>
        <p:spPr>
          <a:xfrm flipV="1">
            <a:off x="4934132" y="3918330"/>
            <a:ext cx="219375" cy="342000"/>
          </a:xfrm>
          <a:prstGeom prst="bentConnector3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Rectangle: Rounded Corners 69">
            <a:extLst>
              <a:ext uri="{FF2B5EF4-FFF2-40B4-BE49-F238E27FC236}">
                <a16:creationId xmlns:a16="http://schemas.microsoft.com/office/drawing/2014/main" id="{DD944225-8C84-422B-A6DF-6A12A2FCAE74}"/>
              </a:ext>
            </a:extLst>
          </p:cNvPr>
          <p:cNvSpPr/>
          <p:nvPr/>
        </p:nvSpPr>
        <p:spPr>
          <a:xfrm>
            <a:off x="6125210" y="3750080"/>
            <a:ext cx="775413" cy="33650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monia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rvoir</a:t>
            </a:r>
          </a:p>
        </p:txBody>
      </p:sp>
      <p:cxnSp>
        <p:nvCxnSpPr>
          <p:cNvPr id="71" name="Straight Arrow Connector 70">
            <a:extLst>
              <a:ext uri="{FF2B5EF4-FFF2-40B4-BE49-F238E27FC236}">
                <a16:creationId xmlns:a16="http://schemas.microsoft.com/office/drawing/2014/main" id="{1DD55368-BD64-4C6C-9AD0-6947E8DF0866}"/>
              </a:ext>
            </a:extLst>
          </p:cNvPr>
          <p:cNvCxnSpPr>
            <a:stCxn id="65" idx="3"/>
            <a:endCxn id="70" idx="1"/>
          </p:cNvCxnSpPr>
          <p:nvPr/>
        </p:nvCxnSpPr>
        <p:spPr>
          <a:xfrm>
            <a:off x="5928920" y="3918330"/>
            <a:ext cx="19629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5FF41B41-A796-4727-84DE-48729CC8788C}"/>
              </a:ext>
            </a:extLst>
          </p:cNvPr>
          <p:cNvCxnSpPr>
            <a:stCxn id="70" idx="3"/>
            <a:endCxn id="51" idx="1"/>
          </p:cNvCxnSpPr>
          <p:nvPr/>
        </p:nvCxnSpPr>
        <p:spPr>
          <a:xfrm>
            <a:off x="6900623" y="3918330"/>
            <a:ext cx="195667" cy="182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Arrow: Right 74">
            <a:extLst>
              <a:ext uri="{FF2B5EF4-FFF2-40B4-BE49-F238E27FC236}">
                <a16:creationId xmlns:a16="http://schemas.microsoft.com/office/drawing/2014/main" id="{073F220A-68E8-4A71-81A5-97C63894C634}"/>
              </a:ext>
            </a:extLst>
          </p:cNvPr>
          <p:cNvSpPr/>
          <p:nvPr/>
        </p:nvSpPr>
        <p:spPr>
          <a:xfrm>
            <a:off x="3237090" y="3044480"/>
            <a:ext cx="698516" cy="387706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Water</a:t>
            </a:r>
          </a:p>
        </p:txBody>
      </p:sp>
      <p:sp>
        <p:nvSpPr>
          <p:cNvPr id="76" name="Arrow: Right 75">
            <a:extLst>
              <a:ext uri="{FF2B5EF4-FFF2-40B4-BE49-F238E27FC236}">
                <a16:creationId xmlns:a16="http://schemas.microsoft.com/office/drawing/2014/main" id="{9E046871-AA1D-48C2-A484-2993CD489C7D}"/>
              </a:ext>
            </a:extLst>
          </p:cNvPr>
          <p:cNvSpPr/>
          <p:nvPr/>
        </p:nvSpPr>
        <p:spPr>
          <a:xfrm>
            <a:off x="3237090" y="4412480"/>
            <a:ext cx="698516" cy="387706"/>
          </a:xfrm>
          <a:prstGeom prst="rightArrow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Air</a:t>
            </a:r>
          </a:p>
        </p:txBody>
      </p:sp>
      <p:cxnSp>
        <p:nvCxnSpPr>
          <p:cNvPr id="77" name="Connector: Elbow 76">
            <a:extLst>
              <a:ext uri="{FF2B5EF4-FFF2-40B4-BE49-F238E27FC236}">
                <a16:creationId xmlns:a16="http://schemas.microsoft.com/office/drawing/2014/main" id="{CF1CE9B8-4565-45EF-B3A2-91E141993258}"/>
              </a:ext>
            </a:extLst>
          </p:cNvPr>
          <p:cNvCxnSpPr>
            <a:stCxn id="75" idx="3"/>
            <a:endCxn id="48" idx="0"/>
          </p:cNvCxnSpPr>
          <p:nvPr/>
        </p:nvCxnSpPr>
        <p:spPr>
          <a:xfrm>
            <a:off x="3935606" y="3238333"/>
            <a:ext cx="609945" cy="169747"/>
          </a:xfrm>
          <a:prstGeom prst="bentConnector2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Connector: Elbow 78">
            <a:extLst>
              <a:ext uri="{FF2B5EF4-FFF2-40B4-BE49-F238E27FC236}">
                <a16:creationId xmlns:a16="http://schemas.microsoft.com/office/drawing/2014/main" id="{79C08952-C50D-4C54-85EB-42F09F1BDBF5}"/>
              </a:ext>
            </a:extLst>
          </p:cNvPr>
          <p:cNvCxnSpPr>
            <a:stCxn id="76" idx="3"/>
            <a:endCxn id="59" idx="2"/>
          </p:cNvCxnSpPr>
          <p:nvPr/>
        </p:nvCxnSpPr>
        <p:spPr>
          <a:xfrm flipV="1">
            <a:off x="3935606" y="4428580"/>
            <a:ext cx="610820" cy="177753"/>
          </a:xfrm>
          <a:prstGeom prst="bentConnector2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13">
            <a:extLst>
              <a:ext uri="{FF2B5EF4-FFF2-40B4-BE49-F238E27FC236}">
                <a16:creationId xmlns:a16="http://schemas.microsoft.com/office/drawing/2014/main" id="{43533927-9F4C-4585-9A2E-BD11722FBDA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5428" y="4803379"/>
            <a:ext cx="3551635" cy="20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lnSpc>
                <a:spcPct val="110000"/>
              </a:lnSpc>
              <a:buClr>
                <a:schemeClr val="accent1"/>
              </a:buClr>
              <a:buFont typeface="Arial" pitchFamily="34" charset="0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  <a:lvl2pPr marL="742950" indent="-28575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2pPr>
            <a:lvl3pPr marL="1143000" indent="-2286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3pPr>
            <a:lvl4pPr marL="1600200" indent="-2286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4pPr>
            <a:lvl5pPr marL="2057400" indent="-228600" eaLnBrk="0" hangingPunct="0">
              <a:lnSpc>
                <a:spcPct val="110000"/>
              </a:lnSpc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Char char="•"/>
              <a:defRPr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buClrTx/>
              <a:buFont typeface="Wingdings" pitchFamily="2" charset="2"/>
              <a:buNone/>
            </a:pPr>
            <a:r>
              <a:rPr lang="da-DK" altLang="da-DK" sz="750" dirty="0">
                <a:solidFill>
                  <a:schemeClr val="tx1"/>
                </a:solidFill>
              </a:rPr>
              <a:t>Picture credit: Brayton Energy, HydrogenPro</a:t>
            </a:r>
          </a:p>
        </p:txBody>
      </p:sp>
    </p:spTree>
    <p:extLst>
      <p:ext uri="{BB962C8B-B14F-4D97-AF65-F5344CB8AC3E}">
        <p14:creationId xmlns:p14="http://schemas.microsoft.com/office/powerpoint/2010/main" val="21435727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 animBg="1"/>
      <p:bldP spid="48" grpId="0" animBg="1"/>
      <p:bldP spid="51" grpId="0" animBg="1"/>
      <p:bldP spid="52" grpId="0" animBg="1"/>
      <p:bldP spid="59" grpId="0" animBg="1"/>
      <p:bldP spid="65" grpId="0" animBg="1"/>
      <p:bldP spid="70" grpId="0" animBg="1"/>
      <p:bldP spid="75" grpId="0" animBg="1"/>
      <p:bldP spid="7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171CCA76-4D13-46B9-981E-B77ABF5F0D7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171CCA76-4D13-46B9-981E-B77ABF5F0D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phic 13">
            <a:extLst>
              <a:ext uri="{FF2B5EF4-FFF2-40B4-BE49-F238E27FC236}">
                <a16:creationId xmlns:a16="http://schemas.microsoft.com/office/drawing/2014/main" id="{879648FA-07CF-4CB3-8552-7667D778C12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t="3852"/>
          <a:stretch/>
        </p:blipFill>
        <p:spPr>
          <a:xfrm>
            <a:off x="1557753" y="991783"/>
            <a:ext cx="6016909" cy="385675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1C0EA9C0-7269-4775-AB26-ABE67033DA74}"/>
              </a:ext>
            </a:extLst>
          </p:cNvPr>
          <p:cNvSpPr/>
          <p:nvPr/>
        </p:nvSpPr>
        <p:spPr>
          <a:xfrm>
            <a:off x="1881188" y="4607719"/>
            <a:ext cx="464344" cy="135731"/>
          </a:xfrm>
          <a:prstGeom prst="roundRect">
            <a:avLst/>
          </a:prstGeom>
          <a:noFill/>
          <a:ln>
            <a:solidFill>
              <a:srgbClr val="25BF0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2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9BD97DBE-4E59-47B8-9391-EF6A24A9CCAD}"/>
              </a:ext>
            </a:extLst>
          </p:cNvPr>
          <p:cNvSpPr/>
          <p:nvPr/>
        </p:nvSpPr>
        <p:spPr>
          <a:xfrm>
            <a:off x="1888332" y="1507332"/>
            <a:ext cx="464344" cy="135731"/>
          </a:xfrm>
          <a:prstGeom prst="roundRect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2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5CE050E1-AEF9-41A7-A4A8-EEF0F3ACF722}"/>
              </a:ext>
            </a:extLst>
          </p:cNvPr>
          <p:cNvSpPr/>
          <p:nvPr/>
        </p:nvSpPr>
        <p:spPr>
          <a:xfrm>
            <a:off x="1888332" y="1774032"/>
            <a:ext cx="464344" cy="135731"/>
          </a:xfrm>
          <a:prstGeom prst="roundRect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2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29059863-7D01-4BD8-A19B-C951DDA7BFC1}"/>
              </a:ext>
            </a:extLst>
          </p:cNvPr>
          <p:cNvSpPr/>
          <p:nvPr/>
        </p:nvSpPr>
        <p:spPr>
          <a:xfrm>
            <a:off x="1885950" y="1640682"/>
            <a:ext cx="464344" cy="135731"/>
          </a:xfrm>
          <a:prstGeom prst="roundRect">
            <a:avLst/>
          </a:prstGeom>
          <a:noFill/>
          <a:ln>
            <a:solidFill>
              <a:srgbClr val="25BF0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2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28AAE7F5-3F6B-48E2-90C2-081C9E7098E0}"/>
              </a:ext>
            </a:extLst>
          </p:cNvPr>
          <p:cNvSpPr/>
          <p:nvPr/>
        </p:nvSpPr>
        <p:spPr>
          <a:xfrm>
            <a:off x="1888332" y="4421982"/>
            <a:ext cx="464344" cy="135731"/>
          </a:xfrm>
          <a:prstGeom prst="roundRect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2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B6A5F4A-B64E-47D1-9D48-12ED6038033A}"/>
              </a:ext>
            </a:extLst>
          </p:cNvPr>
          <p:cNvSpPr/>
          <p:nvPr/>
        </p:nvSpPr>
        <p:spPr>
          <a:xfrm>
            <a:off x="1888332" y="2121694"/>
            <a:ext cx="464344" cy="135731"/>
          </a:xfrm>
          <a:prstGeom prst="roundRect">
            <a:avLst/>
          </a:prstGeom>
          <a:noFill/>
          <a:ln>
            <a:solidFill>
              <a:srgbClr val="25BF0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2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5A1EF91-E105-4EF9-96A9-FD569A729B8D}"/>
              </a:ext>
            </a:extLst>
          </p:cNvPr>
          <p:cNvSpPr txBox="1"/>
          <p:nvPr/>
        </p:nvSpPr>
        <p:spPr>
          <a:xfrm>
            <a:off x="2350294" y="4371975"/>
            <a:ext cx="157876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latin typeface="Arial" panose="020B0604020202020204" pitchFamily="34" charset="0"/>
                <a:cs typeface="Arial" panose="020B0604020202020204" pitchFamily="34" charset="0"/>
              </a:rPr>
              <a:t>Wind and solar PV</a:t>
            </a:r>
          </a:p>
          <a:p>
            <a:r>
              <a:rPr lang="en-US" sz="1050" b="1" dirty="0">
                <a:latin typeface="Arial" panose="020B0604020202020204" pitchFamily="34" charset="0"/>
                <a:cs typeface="Arial" panose="020B0604020202020204" pitchFamily="34" charset="0"/>
              </a:rPr>
              <a:t>Biomass and waste</a:t>
            </a:r>
          </a:p>
        </p:txBody>
      </p:sp>
      <p:sp>
        <p:nvSpPr>
          <p:cNvPr id="13" name="TextBox 17">
            <a:extLst>
              <a:ext uri="{FF2B5EF4-FFF2-40B4-BE49-F238E27FC236}">
                <a16:creationId xmlns:a16="http://schemas.microsoft.com/office/drawing/2014/main" id="{3FF483F4-2217-4ACA-99FA-F952C752BB4B}"/>
              </a:ext>
            </a:extLst>
          </p:cNvPr>
          <p:cNvSpPr txBox="1"/>
          <p:nvPr/>
        </p:nvSpPr>
        <p:spPr>
          <a:xfrm>
            <a:off x="288000" y="540000"/>
            <a:ext cx="835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The Danish energy system, 2017</a:t>
            </a:r>
          </a:p>
        </p:txBody>
      </p:sp>
    </p:spTree>
    <p:extLst>
      <p:ext uri="{BB962C8B-B14F-4D97-AF65-F5344CB8AC3E}">
        <p14:creationId xmlns:p14="http://schemas.microsoft.com/office/powerpoint/2010/main" val="33851076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F9A80C17-28D9-488B-B498-2A3D13A2476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F9A80C17-28D9-488B-B498-2A3D13A247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Graphic 2">
            <a:extLst>
              <a:ext uri="{FF2B5EF4-FFF2-40B4-BE49-F238E27FC236}">
                <a16:creationId xmlns:a16="http://schemas.microsoft.com/office/drawing/2014/main" id="{CBCCC6C0-B46D-451F-A3F5-13E71593DF0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t="3750"/>
          <a:stretch/>
        </p:blipFill>
        <p:spPr>
          <a:xfrm>
            <a:off x="1576959" y="955112"/>
            <a:ext cx="6052742" cy="388384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ADE848E4-BD7C-4F75-B747-87318B042D22}"/>
              </a:ext>
            </a:extLst>
          </p:cNvPr>
          <p:cNvSpPr/>
          <p:nvPr/>
        </p:nvSpPr>
        <p:spPr>
          <a:xfrm>
            <a:off x="1620978" y="3762809"/>
            <a:ext cx="464344" cy="266700"/>
          </a:xfrm>
          <a:prstGeom prst="roundRect">
            <a:avLst/>
          </a:prstGeom>
          <a:noFill/>
          <a:ln>
            <a:solidFill>
              <a:srgbClr val="25BF0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2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5FFA1768-56DE-436F-94E4-06E2E7DE129F}"/>
              </a:ext>
            </a:extLst>
          </p:cNvPr>
          <p:cNvSpPr/>
          <p:nvPr/>
        </p:nvSpPr>
        <p:spPr>
          <a:xfrm>
            <a:off x="1617366" y="2333105"/>
            <a:ext cx="464344" cy="803348"/>
          </a:xfrm>
          <a:prstGeom prst="roundRect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2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88F83861-9C7A-436F-AF06-8A1310BDF4DC}"/>
              </a:ext>
            </a:extLst>
          </p:cNvPr>
          <p:cNvSpPr/>
          <p:nvPr/>
        </p:nvSpPr>
        <p:spPr>
          <a:xfrm>
            <a:off x="1881188" y="4607719"/>
            <a:ext cx="464344" cy="135731"/>
          </a:xfrm>
          <a:prstGeom prst="roundRect">
            <a:avLst/>
          </a:prstGeom>
          <a:noFill/>
          <a:ln>
            <a:solidFill>
              <a:srgbClr val="25BF0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2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8C471C92-DBC1-4B3D-906F-FE20B868892D}"/>
              </a:ext>
            </a:extLst>
          </p:cNvPr>
          <p:cNvSpPr/>
          <p:nvPr/>
        </p:nvSpPr>
        <p:spPr>
          <a:xfrm>
            <a:off x="1888332" y="4421982"/>
            <a:ext cx="464344" cy="135731"/>
          </a:xfrm>
          <a:prstGeom prst="roundRect">
            <a:avLst/>
          </a:prstGeom>
          <a:noFill/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2"/>
          </a:p>
        </p:txBody>
      </p:sp>
      <p:sp>
        <p:nvSpPr>
          <p:cNvPr id="12" name="TextBox 17">
            <a:extLst>
              <a:ext uri="{FF2B5EF4-FFF2-40B4-BE49-F238E27FC236}">
                <a16:creationId xmlns:a16="http://schemas.microsoft.com/office/drawing/2014/main" id="{E21E1FCA-D457-4420-B71F-645F19E94F70}"/>
              </a:ext>
            </a:extLst>
          </p:cNvPr>
          <p:cNvSpPr txBox="1"/>
          <p:nvPr/>
        </p:nvSpPr>
        <p:spPr>
          <a:xfrm>
            <a:off x="288000" y="540000"/>
            <a:ext cx="835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>
                <a:latin typeface="Arial" panose="020B0604020202020204" pitchFamily="34" charset="0"/>
                <a:cs typeface="Arial" panose="020B0604020202020204" pitchFamily="34" charset="0"/>
              </a:rPr>
              <a:t>The Danish energy system, 2030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01B6CE0-E07F-4F9F-821C-AD31056F6495}"/>
              </a:ext>
            </a:extLst>
          </p:cNvPr>
          <p:cNvSpPr txBox="1"/>
          <p:nvPr/>
        </p:nvSpPr>
        <p:spPr>
          <a:xfrm>
            <a:off x="2350294" y="4371975"/>
            <a:ext cx="157876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50" b="1" dirty="0">
                <a:latin typeface="Arial" panose="020B0604020202020204" pitchFamily="34" charset="0"/>
                <a:cs typeface="Arial" panose="020B0604020202020204" pitchFamily="34" charset="0"/>
              </a:rPr>
              <a:t>Wind and solar PV</a:t>
            </a:r>
          </a:p>
          <a:p>
            <a:r>
              <a:rPr lang="en-US" sz="1050" b="1" dirty="0">
                <a:latin typeface="Arial" panose="020B0604020202020204" pitchFamily="34" charset="0"/>
                <a:cs typeface="Arial" panose="020B0604020202020204" pitchFamily="34" charset="0"/>
              </a:rPr>
              <a:t>Biomass and waste</a:t>
            </a:r>
          </a:p>
        </p:txBody>
      </p:sp>
    </p:spTree>
    <p:extLst>
      <p:ext uri="{BB962C8B-B14F-4D97-AF65-F5344CB8AC3E}">
        <p14:creationId xmlns:p14="http://schemas.microsoft.com/office/powerpoint/2010/main" val="18787924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0394</TotalTime>
  <Words>568</Words>
  <Application>Microsoft Office PowerPoint</Application>
  <PresentationFormat>On-screen Show (16:9)</PresentationFormat>
  <Paragraphs>151</Paragraphs>
  <Slides>14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9" baseType="lpstr">
      <vt:lpstr>Arial</vt:lpstr>
      <vt:lpstr>Calibri</vt:lpstr>
      <vt:lpstr>Wingdings</vt:lpstr>
      <vt:lpstr>blank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iemen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tiesdal, Henrik (WP CTO)</dc:creator>
  <cp:lastModifiedBy>Henrik Stiesdal</cp:lastModifiedBy>
  <cp:revision>645</cp:revision>
  <cp:lastPrinted>2016-12-12T07:09:04Z</cp:lastPrinted>
  <dcterms:created xsi:type="dcterms:W3CDTF">2015-02-17T21:53:53Z</dcterms:created>
  <dcterms:modified xsi:type="dcterms:W3CDTF">2020-03-22T21:18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